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8.xml" ContentType="application/vnd.openxmlformats-officedocument.presentationml.tags+xml"/>
  <Override PartName="/ppt/notesSlides/notesSlide1.xml" ContentType="application/vnd.openxmlformats-officedocument.presentationml.notesSlide+xml"/>
  <Override PartName="/ppt/tags/tag109.xml" ContentType="application/vnd.openxmlformats-officedocument.presentationml.tags+xml"/>
  <Override PartName="/ppt/notesSlides/notesSlide2.xml" ContentType="application/vnd.openxmlformats-officedocument.presentationml.notesSlide+xml"/>
  <Override PartName="/ppt/tags/tag110.xml" ContentType="application/vnd.openxmlformats-officedocument.presentationml.tags+xml"/>
  <Override PartName="/ppt/notesSlides/notesSlide3.xml" ContentType="application/vnd.openxmlformats-officedocument.presentationml.notesSlide+xml"/>
  <Override PartName="/ppt/tags/tag111.xml" ContentType="application/vnd.openxmlformats-officedocument.presentationml.tags+xml"/>
  <Override PartName="/ppt/notesSlides/notesSlide4.xml" ContentType="application/vnd.openxmlformats-officedocument.presentationml.notesSlide+xml"/>
  <Override PartName="/ppt/tags/tag112.xml" ContentType="application/vnd.openxmlformats-officedocument.presentationml.tags+xml"/>
  <Override PartName="/ppt/notesSlides/notesSlide5.xml" ContentType="application/vnd.openxmlformats-officedocument.presentationml.notesSlide+xml"/>
  <Override PartName="/ppt/tags/tag113.xml" ContentType="application/vnd.openxmlformats-officedocument.presentationml.tags+xml"/>
  <Override PartName="/ppt/notesSlides/notesSlide6.xml" ContentType="application/vnd.openxmlformats-officedocument.presentationml.notesSlide+xml"/>
  <Override PartName="/ppt/tags/tag114.xml" ContentType="application/vnd.openxmlformats-officedocument.presentationml.tags+xml"/>
  <Override PartName="/ppt/notesSlides/notesSlide7.xml" ContentType="application/vnd.openxmlformats-officedocument.presentationml.notesSlide+xml"/>
  <Override PartName="/ppt/tags/tag115.xml" ContentType="application/vnd.openxmlformats-officedocument.presentationml.tags+xml"/>
  <Override PartName="/ppt/notesSlides/notesSlide8.xml" ContentType="application/vnd.openxmlformats-officedocument.presentationml.notesSlide+xml"/>
  <Override PartName="/ppt/tags/tag116.xml" ContentType="application/vnd.openxmlformats-officedocument.presentationml.tags+xml"/>
  <Override PartName="/ppt/notesSlides/notesSlide9.xml" ContentType="application/vnd.openxmlformats-officedocument.presentationml.notesSlide+xml"/>
  <Override PartName="/ppt/tags/tag117.xml" ContentType="application/vnd.openxmlformats-officedocument.presentationml.tags+xml"/>
  <Override PartName="/ppt/notesSlides/notesSlide10.xml" ContentType="application/vnd.openxmlformats-officedocument.presentationml.notesSlide+xml"/>
  <Override PartName="/ppt/tags/tag118.xml" ContentType="application/vnd.openxmlformats-officedocument.presentationml.tags+xml"/>
  <Override PartName="/ppt/notesSlides/notesSlide11.xml" ContentType="application/vnd.openxmlformats-officedocument.presentationml.notesSlide+xml"/>
  <Override PartName="/ppt/tags/tag119.xml" ContentType="application/vnd.openxmlformats-officedocument.presentationml.tags+xml"/>
  <Override PartName="/ppt/notesSlides/notesSlide12.xml" ContentType="application/vnd.openxmlformats-officedocument.presentationml.notesSlide+xml"/>
  <Override PartName="/ppt/tags/tag120.xml" ContentType="application/vnd.openxmlformats-officedocument.presentationml.tags+xml"/>
  <Override PartName="/ppt/notesSlides/notesSlide13.xml" ContentType="application/vnd.openxmlformats-officedocument.presentationml.notesSlide+xml"/>
  <Override PartName="/ppt/tags/tag121.xml" ContentType="application/vnd.openxmlformats-officedocument.presentationml.tags+xml"/>
  <Override PartName="/ppt/notesSlides/notesSlide14.xml" ContentType="application/vnd.openxmlformats-officedocument.presentationml.notesSlide+xml"/>
  <Override PartName="/ppt/tags/tag122.xml" ContentType="application/vnd.openxmlformats-officedocument.presentationml.tags+xml"/>
  <Override PartName="/ppt/notesSlides/notesSlide15.xml" ContentType="application/vnd.openxmlformats-officedocument.presentationml.notesSlide+xml"/>
  <Override PartName="/ppt/tags/tag123.xml" ContentType="application/vnd.openxmlformats-officedocument.presentationml.tags+xml"/>
  <Override PartName="/ppt/notesSlides/notesSlide16.xml" ContentType="application/vnd.openxmlformats-officedocument.presentationml.notesSlide+xml"/>
  <Override PartName="/ppt/tags/tag124.xml" ContentType="application/vnd.openxmlformats-officedocument.presentationml.tags+xml"/>
  <Override PartName="/ppt/notesSlides/notesSlide17.xml" ContentType="application/vnd.openxmlformats-officedocument.presentationml.notesSlide+xml"/>
  <Override PartName="/ppt/tags/tag125.xml" ContentType="application/vnd.openxmlformats-officedocument.presentationml.tags+xml"/>
  <Override PartName="/ppt/notesSlides/notesSlide18.xml" ContentType="application/vnd.openxmlformats-officedocument.presentationml.notesSlide+xml"/>
  <Override PartName="/ppt/tags/tag126.xml" ContentType="application/vnd.openxmlformats-officedocument.presentationml.tags+xml"/>
  <Override PartName="/ppt/notesSlides/notesSlide19.xml" ContentType="application/vnd.openxmlformats-officedocument.presentationml.notesSlide+xml"/>
  <Override PartName="/ppt/tags/tag127.xml" ContentType="application/vnd.openxmlformats-officedocument.presentationml.tags+xml"/>
  <Override PartName="/ppt/notesSlides/notesSlide20.xml" ContentType="application/vnd.openxmlformats-officedocument.presentationml.notesSlide+xml"/>
  <Override PartName="/ppt/tags/tag128.xml" ContentType="application/vnd.openxmlformats-officedocument.presentationml.tags+xml"/>
  <Override PartName="/ppt/notesSlides/notesSlide21.xml" ContentType="application/vnd.openxmlformats-officedocument.presentationml.notesSlide+xml"/>
  <Override PartName="/ppt/tags/tag129.xml" ContentType="application/vnd.openxmlformats-officedocument.presentationml.tags+xml"/>
  <Override PartName="/ppt/notesSlides/notesSlide22.xml" ContentType="application/vnd.openxmlformats-officedocument.presentationml.notesSlide+xml"/>
  <Override PartName="/ppt/tags/tag130.xml" ContentType="application/vnd.openxmlformats-officedocument.presentationml.tags+xml"/>
  <Override PartName="/ppt/notesSlides/notesSlide23.xml" ContentType="application/vnd.openxmlformats-officedocument.presentationml.notesSlide+xml"/>
  <Override PartName="/ppt/tags/tag131.xml" ContentType="application/vnd.openxmlformats-officedocument.presentationml.tags+xml"/>
  <Override PartName="/ppt/notesSlides/notesSlide24.xml" ContentType="application/vnd.openxmlformats-officedocument.presentationml.notesSlide+xml"/>
  <Override PartName="/ppt/tags/tag132.xml" ContentType="application/vnd.openxmlformats-officedocument.presentationml.tags+xml"/>
  <Override PartName="/ppt/notesSlides/notesSlide25.xml" ContentType="application/vnd.openxmlformats-officedocument.presentationml.notesSlide+xml"/>
  <Override PartName="/ppt/tags/tag133.xml" ContentType="application/vnd.openxmlformats-officedocument.presentationml.tags+xml"/>
  <Override PartName="/ppt/notesSlides/notesSlide26.xml" ContentType="application/vnd.openxmlformats-officedocument.presentationml.notesSlide+xml"/>
  <Override PartName="/ppt/tags/tag134.xml" ContentType="application/vnd.openxmlformats-officedocument.presentationml.tags+xml"/>
  <Override PartName="/ppt/notesSlides/notesSlide27.xml" ContentType="application/vnd.openxmlformats-officedocument.presentationml.notesSlide+xml"/>
  <Override PartName="/ppt/tags/tag135.xml" ContentType="application/vnd.openxmlformats-officedocument.presentationml.tags+xml"/>
  <Override PartName="/ppt/notesSlides/notesSlide28.xml" ContentType="application/vnd.openxmlformats-officedocument.presentationml.notesSlide+xml"/>
  <Override PartName="/ppt/tags/tag136.xml" ContentType="application/vnd.openxmlformats-officedocument.presentationml.tags+xml"/>
  <Override PartName="/ppt/notesSlides/notesSlide29.xml" ContentType="application/vnd.openxmlformats-officedocument.presentationml.notesSlide+xml"/>
  <Override PartName="/ppt/tags/tag137.xml" ContentType="application/vnd.openxmlformats-officedocument.presentationml.tags+xml"/>
  <Override PartName="/ppt/notesSlides/notesSlide30.xml" ContentType="application/vnd.openxmlformats-officedocument.presentationml.notesSlide+xml"/>
  <Override PartName="/ppt/tags/tag138.xml" ContentType="application/vnd.openxmlformats-officedocument.presentationml.tags+xml"/>
  <Override PartName="/ppt/notesSlides/notesSlide31.xml" ContentType="application/vnd.openxmlformats-officedocument.presentationml.notesSlide+xml"/>
  <Override PartName="/ppt/tags/tag139.xml" ContentType="application/vnd.openxmlformats-officedocument.presentationml.tags+xml"/>
  <Override PartName="/ppt/notesSlides/notesSlide3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5"/>
  </p:sldMasterIdLst>
  <p:notesMasterIdLst>
    <p:notesMasterId r:id="rId88"/>
  </p:notesMasterIdLst>
  <p:handoutMasterIdLst>
    <p:handoutMasterId r:id="rId89"/>
  </p:handoutMasterIdLst>
  <p:sldIdLst>
    <p:sldId id="389" r:id="rId6"/>
    <p:sldId id="269" r:id="rId7"/>
    <p:sldId id="560" r:id="rId8"/>
    <p:sldId id="561" r:id="rId9"/>
    <p:sldId id="557" r:id="rId10"/>
    <p:sldId id="575" r:id="rId11"/>
    <p:sldId id="626" r:id="rId12"/>
    <p:sldId id="627" r:id="rId13"/>
    <p:sldId id="628" r:id="rId14"/>
    <p:sldId id="558" r:id="rId15"/>
    <p:sldId id="595" r:id="rId16"/>
    <p:sldId id="618" r:id="rId17"/>
    <p:sldId id="620" r:id="rId18"/>
    <p:sldId id="621" r:id="rId19"/>
    <p:sldId id="622" r:id="rId20"/>
    <p:sldId id="623" r:id="rId21"/>
    <p:sldId id="625" r:id="rId22"/>
    <p:sldId id="559" r:id="rId23"/>
    <p:sldId id="596" r:id="rId24"/>
    <p:sldId id="629" r:id="rId25"/>
    <p:sldId id="630" r:id="rId26"/>
    <p:sldId id="631" r:id="rId27"/>
    <p:sldId id="632" r:id="rId28"/>
    <p:sldId id="655" r:id="rId29"/>
    <p:sldId id="633" r:id="rId30"/>
    <p:sldId id="562" r:id="rId31"/>
    <p:sldId id="567" r:id="rId32"/>
    <p:sldId id="568" r:id="rId33"/>
    <p:sldId id="569" r:id="rId34"/>
    <p:sldId id="564" r:id="rId35"/>
    <p:sldId id="566" r:id="rId36"/>
    <p:sldId id="570" r:id="rId37"/>
    <p:sldId id="274" r:id="rId38"/>
    <p:sldId id="578" r:id="rId39"/>
    <p:sldId id="577" r:id="rId40"/>
    <p:sldId id="576" r:id="rId41"/>
    <p:sldId id="579" r:id="rId42"/>
    <p:sldId id="651" r:id="rId43"/>
    <p:sldId id="652" r:id="rId44"/>
    <p:sldId id="653" r:id="rId45"/>
    <p:sldId id="583" r:id="rId46"/>
    <p:sldId id="649" r:id="rId47"/>
    <p:sldId id="650" r:id="rId48"/>
    <p:sldId id="643" r:id="rId49"/>
    <p:sldId id="584" r:id="rId50"/>
    <p:sldId id="586" r:id="rId51"/>
    <p:sldId id="588" r:id="rId52"/>
    <p:sldId id="654" r:id="rId53"/>
    <p:sldId id="648" r:id="rId54"/>
    <p:sldId id="275" r:id="rId55"/>
    <p:sldId id="587" r:id="rId56"/>
    <p:sldId id="267" r:id="rId57"/>
    <p:sldId id="590" r:id="rId58"/>
    <p:sldId id="646" r:id="rId59"/>
    <p:sldId id="591" r:id="rId60"/>
    <p:sldId id="592" r:id="rId61"/>
    <p:sldId id="599" r:id="rId62"/>
    <p:sldId id="597" r:id="rId63"/>
    <p:sldId id="602" r:id="rId64"/>
    <p:sldId id="603" r:id="rId65"/>
    <p:sldId id="601" r:id="rId66"/>
    <p:sldId id="606" r:id="rId67"/>
    <p:sldId id="607" r:id="rId68"/>
    <p:sldId id="608" r:id="rId69"/>
    <p:sldId id="594" r:id="rId70"/>
    <p:sldId id="593" r:id="rId71"/>
    <p:sldId id="610" r:id="rId72"/>
    <p:sldId id="609" r:id="rId73"/>
    <p:sldId id="611" r:id="rId74"/>
    <p:sldId id="612" r:id="rId75"/>
    <p:sldId id="616" r:id="rId76"/>
    <p:sldId id="619" r:id="rId77"/>
    <p:sldId id="615" r:id="rId78"/>
    <p:sldId id="617" r:id="rId79"/>
    <p:sldId id="634" r:id="rId80"/>
    <p:sldId id="637" r:id="rId81"/>
    <p:sldId id="638" r:id="rId82"/>
    <p:sldId id="639" r:id="rId83"/>
    <p:sldId id="640" r:id="rId84"/>
    <p:sldId id="641" r:id="rId85"/>
    <p:sldId id="642" r:id="rId86"/>
    <p:sldId id="288" r:id="rId87"/>
  </p:sldIdLst>
  <p:sldSz cx="9144000" cy="5145088"/>
  <p:notesSz cx="6858000" cy="9144000"/>
  <p:custDataLst>
    <p:tags r:id="rId9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51CB64-41DE-4E99-AA61-015D66A9A29C}" v="1166" dt="2025-09-11T10:46:37.084"/>
  </p1510:revLst>
</p1510:revInfo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2" autoAdjust="0"/>
    <p:restoredTop sz="92929" autoAdjust="0"/>
  </p:normalViewPr>
  <p:slideViewPr>
    <p:cSldViewPr snapToGrid="0" showGuides="1">
      <p:cViewPr varScale="1">
        <p:scale>
          <a:sx n="91" d="100"/>
          <a:sy n="91" d="100"/>
        </p:scale>
        <p:origin x="576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48" d="100"/>
          <a:sy n="48" d="100"/>
        </p:scale>
        <p:origin x="2684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handoutMaster" Target="handoutMasters/handoutMaster1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5" Type="http://schemas.openxmlformats.org/officeDocument/2006/relationships/slideMaster" Target="slideMasters/slideMaster1.xml"/><Relationship Id="rId90" Type="http://schemas.openxmlformats.org/officeDocument/2006/relationships/tags" Target="tags/tag1.xml"/><Relationship Id="rId95" Type="http://schemas.microsoft.com/office/2016/11/relationships/changesInfo" Target="changesInfos/changesInfo1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93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notesMaster" Target="notesMasters/notesMaster1.xml"/><Relationship Id="rId91" Type="http://schemas.openxmlformats.org/officeDocument/2006/relationships/presProps" Target="presProps.xml"/><Relationship Id="rId9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viewProps" Target="viewProps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vedha N A" userId="48795343-f4b0-4368-b9f1-c6e5f3910d48" providerId="ADAL" clId="{3E51CB64-41DE-4E99-AA61-015D66A9A29C}"/>
    <pc:docChg chg="undo custSel addSld delSld modSld sldOrd">
      <pc:chgData name="Nivedha N A" userId="48795343-f4b0-4368-b9f1-c6e5f3910d48" providerId="ADAL" clId="{3E51CB64-41DE-4E99-AA61-015D66A9A29C}" dt="2025-09-11T10:51:08.311" v="11461" actId="1076"/>
      <pc:docMkLst>
        <pc:docMk/>
      </pc:docMkLst>
      <pc:sldChg chg="modSp del">
        <pc:chgData name="Nivedha N A" userId="48795343-f4b0-4368-b9f1-c6e5f3910d48" providerId="ADAL" clId="{3E51CB64-41DE-4E99-AA61-015D66A9A29C}" dt="2025-09-01T09:44:53.877" v="22" actId="2696"/>
        <pc:sldMkLst>
          <pc:docMk/>
          <pc:sldMk cId="2860242000" sldId="257"/>
        </pc:sldMkLst>
      </pc:sldChg>
      <pc:sldChg chg="del">
        <pc:chgData name="Nivedha N A" userId="48795343-f4b0-4368-b9f1-c6e5f3910d48" providerId="ADAL" clId="{3E51CB64-41DE-4E99-AA61-015D66A9A29C}" dt="2025-09-01T09:44:34.675" v="21" actId="2696"/>
        <pc:sldMkLst>
          <pc:docMk/>
          <pc:sldMk cId="4124568962" sldId="259"/>
        </pc:sldMkLst>
      </pc:sldChg>
      <pc:sldChg chg="modSp del">
        <pc:chgData name="Nivedha N A" userId="48795343-f4b0-4368-b9f1-c6e5f3910d48" providerId="ADAL" clId="{3E51CB64-41DE-4E99-AA61-015D66A9A29C}" dt="2025-09-01T10:06:06.400" v="98" actId="2696"/>
        <pc:sldMkLst>
          <pc:docMk/>
          <pc:sldMk cId="1371627831" sldId="262"/>
        </pc:sldMkLst>
      </pc:sldChg>
      <pc:sldChg chg="modSp add mod">
        <pc:chgData name="Nivedha N A" userId="48795343-f4b0-4368-b9f1-c6e5f3910d48" providerId="ADAL" clId="{3E51CB64-41DE-4E99-AA61-015D66A9A29C}" dt="2025-09-11T05:53:35.624" v="10971"/>
        <pc:sldMkLst>
          <pc:docMk/>
          <pc:sldMk cId="1610282302" sldId="267"/>
        </pc:sldMkLst>
        <pc:spChg chg="mod">
          <ac:chgData name="Nivedha N A" userId="48795343-f4b0-4368-b9f1-c6e5f3910d48" providerId="ADAL" clId="{3E51CB64-41DE-4E99-AA61-015D66A9A29C}" dt="2025-09-11T05:53:35.624" v="10971"/>
          <ac:spMkLst>
            <pc:docMk/>
            <pc:sldMk cId="1610282302" sldId="267"/>
            <ac:spMk id="3" creationId="{6CDA5197-2314-4D7B-A279-BF30BE020CFB}"/>
          </ac:spMkLst>
        </pc:spChg>
        <pc:spChg chg="mod">
          <ac:chgData name="Nivedha N A" userId="48795343-f4b0-4368-b9f1-c6e5f3910d48" providerId="ADAL" clId="{3E51CB64-41DE-4E99-AA61-015D66A9A29C}" dt="2025-09-05T10:10:34.615" v="4536" actId="1076"/>
          <ac:spMkLst>
            <pc:docMk/>
            <pc:sldMk cId="1610282302" sldId="267"/>
            <ac:spMk id="4" creationId="{73B57460-F042-43EF-A022-E1E198052216}"/>
          </ac:spMkLst>
        </pc:spChg>
      </pc:sldChg>
      <pc:sldChg chg="addSp delSp modSp mod">
        <pc:chgData name="Nivedha N A" userId="48795343-f4b0-4368-b9f1-c6e5f3910d48" providerId="ADAL" clId="{3E51CB64-41DE-4E99-AA61-015D66A9A29C}" dt="2025-09-01T14:45:09.509" v="2510" actId="1076"/>
        <pc:sldMkLst>
          <pc:docMk/>
          <pc:sldMk cId="1085679889" sldId="269"/>
        </pc:sldMkLst>
        <pc:spChg chg="mod">
          <ac:chgData name="Nivedha N A" userId="48795343-f4b0-4368-b9f1-c6e5f3910d48" providerId="ADAL" clId="{3E51CB64-41DE-4E99-AA61-015D66A9A29C}" dt="2025-09-01T10:20:53.782" v="285"/>
          <ac:spMkLst>
            <pc:docMk/>
            <pc:sldMk cId="1085679889" sldId="269"/>
            <ac:spMk id="3" creationId="{42C3F69D-D76D-4CFB-AD5F-C2A6D428E3D6}"/>
          </ac:spMkLst>
        </pc:spChg>
        <pc:spChg chg="mod">
          <ac:chgData name="Nivedha N A" userId="48795343-f4b0-4368-b9f1-c6e5f3910d48" providerId="ADAL" clId="{3E51CB64-41DE-4E99-AA61-015D66A9A29C}" dt="2025-09-01T10:05:55.536" v="97" actId="20577"/>
          <ac:spMkLst>
            <pc:docMk/>
            <pc:sldMk cId="1085679889" sldId="269"/>
            <ac:spMk id="5" creationId="{3310CE0A-9AAD-4E7F-A2A7-EF175D65B632}"/>
          </ac:spMkLst>
        </pc:spChg>
        <pc:spChg chg="mod">
          <ac:chgData name="Nivedha N A" userId="48795343-f4b0-4368-b9f1-c6e5f3910d48" providerId="ADAL" clId="{3E51CB64-41DE-4E99-AA61-015D66A9A29C}" dt="2025-09-01T14:40:08.665" v="2501" actId="20577"/>
          <ac:spMkLst>
            <pc:docMk/>
            <pc:sldMk cId="1085679889" sldId="269"/>
            <ac:spMk id="8" creationId="{B0B1E615-E944-47CD-AC27-55B477280C41}"/>
          </ac:spMkLst>
        </pc:spChg>
        <pc:picChg chg="add mod">
          <ac:chgData name="Nivedha N A" userId="48795343-f4b0-4368-b9f1-c6e5f3910d48" providerId="ADAL" clId="{3E51CB64-41DE-4E99-AA61-015D66A9A29C}" dt="2025-09-01T14:35:23.690" v="2500" actId="1076"/>
          <ac:picMkLst>
            <pc:docMk/>
            <pc:sldMk cId="1085679889" sldId="269"/>
            <ac:picMk id="1029" creationId="{37ACF022-2339-3846-F0AC-06C6069BE90D}"/>
          </ac:picMkLst>
        </pc:picChg>
        <pc:picChg chg="add mod">
          <ac:chgData name="Nivedha N A" userId="48795343-f4b0-4368-b9f1-c6e5f3910d48" providerId="ADAL" clId="{3E51CB64-41DE-4E99-AA61-015D66A9A29C}" dt="2025-09-01T14:45:09.509" v="2510" actId="1076"/>
          <ac:picMkLst>
            <pc:docMk/>
            <pc:sldMk cId="1085679889" sldId="269"/>
            <ac:picMk id="1031" creationId="{7DAEF337-3973-BB7A-4CFA-4721FF02C468}"/>
          </ac:picMkLst>
        </pc:picChg>
      </pc:sldChg>
      <pc:sldChg chg="addSp modSp del mod">
        <pc:chgData name="Nivedha N A" userId="48795343-f4b0-4368-b9f1-c6e5f3910d48" providerId="ADAL" clId="{3E51CB64-41DE-4E99-AA61-015D66A9A29C}" dt="2025-09-02T13:54:41.522" v="3524" actId="2696"/>
        <pc:sldMkLst>
          <pc:docMk/>
          <pc:sldMk cId="4220273849" sldId="270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3907478668" sldId="273"/>
        </pc:sldMkLst>
      </pc:sldChg>
      <pc:sldChg chg="addSp modSp add mod">
        <pc:chgData name="Nivedha N A" userId="48795343-f4b0-4368-b9f1-c6e5f3910d48" providerId="ADAL" clId="{3E51CB64-41DE-4E99-AA61-015D66A9A29C}" dt="2025-09-04T06:59:42.785" v="3750" actId="14100"/>
        <pc:sldMkLst>
          <pc:docMk/>
          <pc:sldMk cId="3999088887" sldId="274"/>
        </pc:sldMkLst>
        <pc:picChg chg="add mod">
          <ac:chgData name="Nivedha N A" userId="48795343-f4b0-4368-b9f1-c6e5f3910d48" providerId="ADAL" clId="{3E51CB64-41DE-4E99-AA61-015D66A9A29C}" dt="2025-09-04T06:59:42.785" v="3750" actId="14100"/>
          <ac:picMkLst>
            <pc:docMk/>
            <pc:sldMk cId="3999088887" sldId="274"/>
            <ac:picMk id="5" creationId="{ACFF2616-0E58-458D-E7C7-083887064B36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5T09:32:39.467" v="4530" actId="1076"/>
        <pc:sldMkLst>
          <pc:docMk/>
          <pc:sldMk cId="3338559003" sldId="275"/>
        </pc:sldMkLst>
        <pc:picChg chg="add mod">
          <ac:chgData name="Nivedha N A" userId="48795343-f4b0-4368-b9f1-c6e5f3910d48" providerId="ADAL" clId="{3E51CB64-41DE-4E99-AA61-015D66A9A29C}" dt="2025-09-05T09:32:39.467" v="4530" actId="1076"/>
          <ac:picMkLst>
            <pc:docMk/>
            <pc:sldMk cId="3338559003" sldId="275"/>
            <ac:picMk id="2052" creationId="{A89858AB-21AB-C425-B9DE-85D211AF3550}"/>
          </ac:picMkLst>
        </pc:picChg>
        <pc:picChg chg="add mod">
          <ac:chgData name="Nivedha N A" userId="48795343-f4b0-4368-b9f1-c6e5f3910d48" providerId="ADAL" clId="{3E51CB64-41DE-4E99-AA61-015D66A9A29C}" dt="2025-09-05T09:32:31.650" v="4528" actId="14100"/>
          <ac:picMkLst>
            <pc:docMk/>
            <pc:sldMk cId="3338559003" sldId="275"/>
            <ac:picMk id="2068" creationId="{6C2B6280-F60D-FF54-75CA-D82D47E7BF36}"/>
          </ac:picMkLst>
        </pc:picChg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605538384" sldId="279"/>
        </pc:sldMkLst>
      </pc:sldChg>
      <pc:sldChg chg="del">
        <pc:chgData name="Nivedha N A" userId="48795343-f4b0-4368-b9f1-c6e5f3910d48" providerId="ADAL" clId="{3E51CB64-41DE-4E99-AA61-015D66A9A29C}" dt="2025-09-02T13:54:23.605" v="3522" actId="2696"/>
        <pc:sldMkLst>
          <pc:docMk/>
          <pc:sldMk cId="2623588317" sldId="280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3095708973" sldId="287"/>
        </pc:sldMkLst>
      </pc:sldChg>
      <pc:sldChg chg="modSp add">
        <pc:chgData name="Nivedha N A" userId="48795343-f4b0-4368-b9f1-c6e5f3910d48" providerId="ADAL" clId="{3E51CB64-41DE-4E99-AA61-015D66A9A29C}" dt="2025-09-02T13:55:44.667" v="3529"/>
        <pc:sldMkLst>
          <pc:docMk/>
          <pc:sldMk cId="3764670247" sldId="288"/>
        </pc:sldMkLst>
        <pc:spChg chg="mod">
          <ac:chgData name="Nivedha N A" userId="48795343-f4b0-4368-b9f1-c6e5f3910d48" providerId="ADAL" clId="{3E51CB64-41DE-4E99-AA61-015D66A9A29C}" dt="2025-09-02T13:55:44.667" v="3529"/>
          <ac:spMkLst>
            <pc:docMk/>
            <pc:sldMk cId="3764670247" sldId="288"/>
            <ac:spMk id="3" creationId="{4C7DAEA0-5F99-491B-88F0-E51AE5A4554F}"/>
          </ac:spMkLst>
        </pc:spChg>
      </pc:sldChg>
      <pc:sldChg chg="del">
        <pc:chgData name="Nivedha N A" userId="48795343-f4b0-4368-b9f1-c6e5f3910d48" providerId="ADAL" clId="{3E51CB64-41DE-4E99-AA61-015D66A9A29C}" dt="2025-09-01T10:06:16.018" v="101" actId="2696"/>
        <pc:sldMkLst>
          <pc:docMk/>
          <pc:sldMk cId="1311371785" sldId="297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2767620271" sldId="357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4065022239" sldId="358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639234891" sldId="359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2371574227" sldId="369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1662555385" sldId="388"/>
        </pc:sldMkLst>
      </pc:sldChg>
      <pc:sldChg chg="addSp delSp modSp mod">
        <pc:chgData name="Nivedha N A" userId="48795343-f4b0-4368-b9f1-c6e5f3910d48" providerId="ADAL" clId="{3E51CB64-41DE-4E99-AA61-015D66A9A29C}" dt="2025-09-11T10:51:08.311" v="11461" actId="1076"/>
        <pc:sldMkLst>
          <pc:docMk/>
          <pc:sldMk cId="2861970163" sldId="389"/>
        </pc:sldMkLst>
        <pc:spChg chg="add del mod">
          <ac:chgData name="Nivedha N A" userId="48795343-f4b0-4368-b9f1-c6e5f3910d48" providerId="ADAL" clId="{3E51CB64-41DE-4E99-AA61-015D66A9A29C}" dt="2025-09-11T10:46:53.776" v="11294" actId="21"/>
          <ac:spMkLst>
            <pc:docMk/>
            <pc:sldMk cId="2861970163" sldId="389"/>
            <ac:spMk id="2" creationId="{F7DBEC5B-2EBD-4E3C-5DA8-BBF42574FB34}"/>
          </ac:spMkLst>
        </pc:spChg>
        <pc:spChg chg="add del mod">
          <ac:chgData name="Nivedha N A" userId="48795343-f4b0-4368-b9f1-c6e5f3910d48" providerId="ADAL" clId="{3E51CB64-41DE-4E99-AA61-015D66A9A29C}" dt="2025-09-11T10:46:38.381" v="11288" actId="22"/>
          <ac:spMkLst>
            <pc:docMk/>
            <pc:sldMk cId="2861970163" sldId="389"/>
            <ac:spMk id="5" creationId="{A87AF2DC-46E2-F00B-E35B-3E492F1313CE}"/>
          </ac:spMkLst>
        </pc:spChg>
        <pc:spChg chg="mod">
          <ac:chgData name="Nivedha N A" userId="48795343-f4b0-4368-b9f1-c6e5f3910d48" providerId="ADAL" clId="{3E51CB64-41DE-4E99-AA61-015D66A9A29C}" dt="2025-09-11T10:42:00.170" v="11210" actId="14100"/>
          <ac:spMkLst>
            <pc:docMk/>
            <pc:sldMk cId="2861970163" sldId="389"/>
            <ac:spMk id="6" creationId="{47FAEEF0-36B7-4481-8228-07ECAE5665B2}"/>
          </ac:spMkLst>
        </pc:spChg>
        <pc:spChg chg="add del mod">
          <ac:chgData name="Nivedha N A" userId="48795343-f4b0-4368-b9f1-c6e5f3910d48" providerId="ADAL" clId="{3E51CB64-41DE-4E99-AA61-015D66A9A29C}" dt="2025-09-11T10:51:08.311" v="11461" actId="1076"/>
          <ac:spMkLst>
            <pc:docMk/>
            <pc:sldMk cId="2861970163" sldId="389"/>
            <ac:spMk id="7" creationId="{4DC78E09-2F5F-42ED-B40B-4690E044DA86}"/>
          </ac:spMkLst>
        </pc:spChg>
        <pc:spChg chg="add del mod">
          <ac:chgData name="Nivedha N A" userId="48795343-f4b0-4368-b9f1-c6e5f3910d48" providerId="ADAL" clId="{3E51CB64-41DE-4E99-AA61-015D66A9A29C}" dt="2025-09-11T10:46:36.041" v="11282" actId="21"/>
          <ac:spMkLst>
            <pc:docMk/>
            <pc:sldMk cId="2861970163" sldId="389"/>
            <ac:spMk id="9" creationId="{D75F6733-37D2-C9E7-490C-438B57616BFD}"/>
          </ac:spMkLst>
        </pc:spChg>
      </pc:sldChg>
      <pc:sldChg chg="del">
        <pc:chgData name="Nivedha N A" userId="48795343-f4b0-4368-b9f1-c6e5f3910d48" providerId="ADAL" clId="{3E51CB64-41DE-4E99-AA61-015D66A9A29C}" dt="2025-09-01T09:45:05.308" v="23" actId="2696"/>
        <pc:sldMkLst>
          <pc:docMk/>
          <pc:sldMk cId="3631032012" sldId="390"/>
        </pc:sldMkLst>
      </pc:sldChg>
      <pc:sldChg chg="del">
        <pc:chgData name="Nivedha N A" userId="48795343-f4b0-4368-b9f1-c6e5f3910d48" providerId="ADAL" clId="{3E51CB64-41DE-4E99-AA61-015D66A9A29C}" dt="2025-09-01T09:45:08.564" v="24" actId="2696"/>
        <pc:sldMkLst>
          <pc:docMk/>
          <pc:sldMk cId="1221361603" sldId="391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854860422" sldId="392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428717061" sldId="393"/>
        </pc:sldMkLst>
      </pc:sldChg>
      <pc:sldChg chg="modSp add del">
        <pc:chgData name="Nivedha N A" userId="48795343-f4b0-4368-b9f1-c6e5f3910d48" providerId="ADAL" clId="{3E51CB64-41DE-4E99-AA61-015D66A9A29C}" dt="2025-09-02T13:55:00.799" v="3527" actId="2696"/>
        <pc:sldMkLst>
          <pc:docMk/>
          <pc:sldMk cId="4035000069" sldId="394"/>
        </pc:sldMkLst>
      </pc:sldChg>
      <pc:sldChg chg="addSp delSp modSp add del mod">
        <pc:chgData name="Nivedha N A" userId="48795343-f4b0-4368-b9f1-c6e5f3910d48" providerId="ADAL" clId="{3E51CB64-41DE-4E99-AA61-015D66A9A29C}" dt="2025-09-02T05:18:37.816" v="3337" actId="2696"/>
        <pc:sldMkLst>
          <pc:docMk/>
          <pc:sldMk cId="1826746480" sldId="536"/>
        </pc:sldMkLst>
      </pc:sldChg>
      <pc:sldChg chg="addSp delSp modSp add del mod">
        <pc:chgData name="Nivedha N A" userId="48795343-f4b0-4368-b9f1-c6e5f3910d48" providerId="ADAL" clId="{3E51CB64-41DE-4E99-AA61-015D66A9A29C}" dt="2025-09-02T08:50:18.581" v="3447" actId="2696"/>
        <pc:sldMkLst>
          <pc:docMk/>
          <pc:sldMk cId="67126905" sldId="551"/>
        </pc:sldMkLst>
      </pc:sldChg>
      <pc:sldChg chg="addSp modSp add del mod">
        <pc:chgData name="Nivedha N A" userId="48795343-f4b0-4368-b9f1-c6e5f3910d48" providerId="ADAL" clId="{3E51CB64-41DE-4E99-AA61-015D66A9A29C}" dt="2025-09-02T13:54:55.730" v="3525" actId="2696"/>
        <pc:sldMkLst>
          <pc:docMk/>
          <pc:sldMk cId="244715785" sldId="555"/>
        </pc:sldMkLst>
      </pc:sldChg>
      <pc:sldChg chg="addSp delSp modSp add del mod">
        <pc:chgData name="Nivedha N A" userId="48795343-f4b0-4368-b9f1-c6e5f3910d48" providerId="ADAL" clId="{3E51CB64-41DE-4E99-AA61-015D66A9A29C}" dt="2025-09-07T06:07:28.408" v="6444" actId="2696"/>
        <pc:sldMkLst>
          <pc:docMk/>
          <pc:sldMk cId="1168618435" sldId="556"/>
        </pc:sldMkLst>
      </pc:sldChg>
      <pc:sldChg chg="modSp add del mod">
        <pc:chgData name="Nivedha N A" userId="48795343-f4b0-4368-b9f1-c6e5f3910d48" providerId="ADAL" clId="{3E51CB64-41DE-4E99-AA61-015D66A9A29C}" dt="2025-09-01T12:04:29.513" v="714" actId="2696"/>
        <pc:sldMkLst>
          <pc:docMk/>
          <pc:sldMk cId="1455720448" sldId="556"/>
        </pc:sldMkLst>
      </pc:sldChg>
      <pc:sldChg chg="addSp delSp modSp add mod">
        <pc:chgData name="Nivedha N A" userId="48795343-f4b0-4368-b9f1-c6e5f3910d48" providerId="ADAL" clId="{3E51CB64-41DE-4E99-AA61-015D66A9A29C}" dt="2025-09-02T08:52:15.438" v="3474" actId="20577"/>
        <pc:sldMkLst>
          <pc:docMk/>
          <pc:sldMk cId="1508089594" sldId="557"/>
        </pc:sldMkLst>
        <pc:spChg chg="mod">
          <ac:chgData name="Nivedha N A" userId="48795343-f4b0-4368-b9f1-c6e5f3910d48" providerId="ADAL" clId="{3E51CB64-41DE-4E99-AA61-015D66A9A29C}" dt="2025-09-01T13:35:50.210" v="2428"/>
          <ac:spMkLst>
            <pc:docMk/>
            <pc:sldMk cId="1508089594" sldId="557"/>
            <ac:spMk id="3" creationId="{42C3F69D-D76D-4CFB-AD5F-C2A6D428E3D6}"/>
          </ac:spMkLst>
        </pc:spChg>
        <pc:spChg chg="mod">
          <ac:chgData name="Nivedha N A" userId="48795343-f4b0-4368-b9f1-c6e5f3910d48" providerId="ADAL" clId="{3E51CB64-41DE-4E99-AA61-015D66A9A29C}" dt="2025-09-01T12:04:38.197" v="715"/>
          <ac:spMkLst>
            <pc:docMk/>
            <pc:sldMk cId="1508089594" sldId="557"/>
            <ac:spMk id="5" creationId="{3310CE0A-9AAD-4E7F-A2A7-EF175D65B632}"/>
          </ac:spMkLst>
        </pc:spChg>
        <pc:spChg chg="mod">
          <ac:chgData name="Nivedha N A" userId="48795343-f4b0-4368-b9f1-c6e5f3910d48" providerId="ADAL" clId="{3E51CB64-41DE-4E99-AA61-015D66A9A29C}" dt="2025-09-01T14:54:34.110" v="2594" actId="1076"/>
          <ac:spMkLst>
            <pc:docMk/>
            <pc:sldMk cId="1508089594" sldId="557"/>
            <ac:spMk id="6" creationId="{FA00883F-F124-4187-9967-B03237F827EF}"/>
          </ac:spMkLst>
        </pc:spChg>
        <pc:spChg chg="mod">
          <ac:chgData name="Nivedha N A" userId="48795343-f4b0-4368-b9f1-c6e5f3910d48" providerId="ADAL" clId="{3E51CB64-41DE-4E99-AA61-015D66A9A29C}" dt="2025-09-02T08:52:15.438" v="3474" actId="20577"/>
          <ac:spMkLst>
            <pc:docMk/>
            <pc:sldMk cId="1508089594" sldId="557"/>
            <ac:spMk id="8" creationId="{B0B1E615-E944-47CD-AC27-55B477280C41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8T09:24:43.110" v="7714" actId="20577"/>
        <pc:sldMkLst>
          <pc:docMk/>
          <pc:sldMk cId="2341847114" sldId="558"/>
        </pc:sldMkLst>
        <pc:spChg chg="mod">
          <ac:chgData name="Nivedha N A" userId="48795343-f4b0-4368-b9f1-c6e5f3910d48" providerId="ADAL" clId="{3E51CB64-41DE-4E99-AA61-015D66A9A29C}" dt="2025-09-01T13:36:15.674" v="2431"/>
          <ac:spMkLst>
            <pc:docMk/>
            <pc:sldMk cId="2341847114" sldId="558"/>
            <ac:spMk id="3" creationId="{6D4219D5-4ACA-2500-793E-9221D47D0A3C}"/>
          </ac:spMkLst>
        </pc:spChg>
        <pc:spChg chg="mod">
          <ac:chgData name="Nivedha N A" userId="48795343-f4b0-4368-b9f1-c6e5f3910d48" providerId="ADAL" clId="{3E51CB64-41DE-4E99-AA61-015D66A9A29C}" dt="2025-09-08T09:24:43.110" v="7714" actId="20577"/>
          <ac:spMkLst>
            <pc:docMk/>
            <pc:sldMk cId="2341847114" sldId="558"/>
            <ac:spMk id="5" creationId="{2435C8A0-E6F4-F5C0-582C-98AF3DA999D7}"/>
          </ac:spMkLst>
        </pc:spChg>
        <pc:spChg chg="mod">
          <ac:chgData name="Nivedha N A" userId="48795343-f4b0-4368-b9f1-c6e5f3910d48" providerId="ADAL" clId="{3E51CB64-41DE-4E99-AA61-015D66A9A29C}" dt="2025-09-02T03:39:29.862" v="3043" actId="1076"/>
          <ac:spMkLst>
            <pc:docMk/>
            <pc:sldMk cId="2341847114" sldId="558"/>
            <ac:spMk id="6" creationId="{36033B35-304A-9B55-69C9-6BBBAD88EC2A}"/>
          </ac:spMkLst>
        </pc:spChg>
        <pc:spChg chg="mod">
          <ac:chgData name="Nivedha N A" userId="48795343-f4b0-4368-b9f1-c6e5f3910d48" providerId="ADAL" clId="{3E51CB64-41DE-4E99-AA61-015D66A9A29C}" dt="2025-09-02T03:39:24.942" v="3042" actId="1076"/>
          <ac:spMkLst>
            <pc:docMk/>
            <pc:sldMk cId="2341847114" sldId="558"/>
            <ac:spMk id="8" creationId="{7307832E-BE7E-D60F-ACC3-93B208E86D35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8T09:24:28.600" v="7692" actId="20577"/>
        <pc:sldMkLst>
          <pc:docMk/>
          <pc:sldMk cId="392851940" sldId="559"/>
        </pc:sldMkLst>
        <pc:spChg chg="mod">
          <ac:chgData name="Nivedha N A" userId="48795343-f4b0-4368-b9f1-c6e5f3910d48" providerId="ADAL" clId="{3E51CB64-41DE-4E99-AA61-015D66A9A29C}" dt="2025-09-01T13:36:20.491" v="2432"/>
          <ac:spMkLst>
            <pc:docMk/>
            <pc:sldMk cId="392851940" sldId="559"/>
            <ac:spMk id="3" creationId="{CBF92B60-CE3F-A351-3E5E-24D5AE40CE50}"/>
          </ac:spMkLst>
        </pc:spChg>
        <pc:spChg chg="mod">
          <ac:chgData name="Nivedha N A" userId="48795343-f4b0-4368-b9f1-c6e5f3910d48" providerId="ADAL" clId="{3E51CB64-41DE-4E99-AA61-015D66A9A29C}" dt="2025-09-08T09:24:28.600" v="7692" actId="20577"/>
          <ac:spMkLst>
            <pc:docMk/>
            <pc:sldMk cId="392851940" sldId="559"/>
            <ac:spMk id="5" creationId="{EAA3D0CD-535E-5264-6D68-BAE46AB023D8}"/>
          </ac:spMkLst>
        </pc:spChg>
        <pc:spChg chg="mod">
          <ac:chgData name="Nivedha N A" userId="48795343-f4b0-4368-b9f1-c6e5f3910d48" providerId="ADAL" clId="{3E51CB64-41DE-4E99-AA61-015D66A9A29C}" dt="2025-09-02T05:18:25.446" v="3336" actId="1076"/>
          <ac:spMkLst>
            <pc:docMk/>
            <pc:sldMk cId="392851940" sldId="559"/>
            <ac:spMk id="6" creationId="{2BB6C697-FDFC-1F41-6DBF-152C952B6A9D}"/>
          </ac:spMkLst>
        </pc:spChg>
        <pc:spChg chg="mod">
          <ac:chgData name="Nivedha N A" userId="48795343-f4b0-4368-b9f1-c6e5f3910d48" providerId="ADAL" clId="{3E51CB64-41DE-4E99-AA61-015D66A9A29C}" dt="2025-09-02T13:37:52.944" v="3518"/>
          <ac:spMkLst>
            <pc:docMk/>
            <pc:sldMk cId="392851940" sldId="559"/>
            <ac:spMk id="8" creationId="{53C22927-4502-A519-B613-E1AAB035F2F4}"/>
          </ac:spMkLst>
        </pc:spChg>
      </pc:sldChg>
      <pc:sldChg chg="addSp delSp modSp add mod ord">
        <pc:chgData name="Nivedha N A" userId="48795343-f4b0-4368-b9f1-c6e5f3910d48" providerId="ADAL" clId="{3E51CB64-41DE-4E99-AA61-015D66A9A29C}" dt="2025-09-10T11:46:21.668" v="10091"/>
        <pc:sldMkLst>
          <pc:docMk/>
          <pc:sldMk cId="2005893529" sldId="560"/>
        </pc:sldMkLst>
        <pc:spChg chg="mod">
          <ac:chgData name="Nivedha N A" userId="48795343-f4b0-4368-b9f1-c6e5f3910d48" providerId="ADAL" clId="{3E51CB64-41DE-4E99-AA61-015D66A9A29C}" dt="2025-09-01T13:36:30.419" v="2433"/>
          <ac:spMkLst>
            <pc:docMk/>
            <pc:sldMk cId="2005893529" sldId="560"/>
            <ac:spMk id="3" creationId="{5D6D13F7-B0DD-0A3F-9A83-A40E1662CF5F}"/>
          </ac:spMkLst>
        </pc:spChg>
        <pc:spChg chg="mod">
          <ac:chgData name="Nivedha N A" userId="48795343-f4b0-4368-b9f1-c6e5f3910d48" providerId="ADAL" clId="{3E51CB64-41DE-4E99-AA61-015D66A9A29C}" dt="2025-09-01T12:13:27.466" v="1014"/>
          <ac:spMkLst>
            <pc:docMk/>
            <pc:sldMk cId="2005893529" sldId="560"/>
            <ac:spMk id="5" creationId="{24EFFEAC-43FB-2C0B-F818-92F0BB61A19D}"/>
          </ac:spMkLst>
        </pc:spChg>
        <pc:spChg chg="mod">
          <ac:chgData name="Nivedha N A" userId="48795343-f4b0-4368-b9f1-c6e5f3910d48" providerId="ADAL" clId="{3E51CB64-41DE-4E99-AA61-015D66A9A29C}" dt="2025-09-01T16:01:49.735" v="2712" actId="20577"/>
          <ac:spMkLst>
            <pc:docMk/>
            <pc:sldMk cId="2005893529" sldId="560"/>
            <ac:spMk id="6" creationId="{C94AAAD1-85D6-7983-840F-59E00D4747C2}"/>
          </ac:spMkLst>
        </pc:spChg>
        <pc:spChg chg="mod">
          <ac:chgData name="Nivedha N A" userId="48795343-f4b0-4368-b9f1-c6e5f3910d48" providerId="ADAL" clId="{3E51CB64-41DE-4E99-AA61-015D66A9A29C}" dt="2025-09-01T16:16:16.207" v="2749" actId="14100"/>
          <ac:spMkLst>
            <pc:docMk/>
            <pc:sldMk cId="2005893529" sldId="560"/>
            <ac:spMk id="8" creationId="{357C7668-AA72-FDED-2FE3-6AFB8C54CB85}"/>
          </ac:spMkLst>
        </pc:spChg>
        <pc:spChg chg="add mod">
          <ac:chgData name="Nivedha N A" userId="48795343-f4b0-4368-b9f1-c6e5f3910d48" providerId="ADAL" clId="{3E51CB64-41DE-4E99-AA61-015D66A9A29C}" dt="2025-09-01T16:25:26.503" v="2764" actId="1076"/>
          <ac:spMkLst>
            <pc:docMk/>
            <pc:sldMk cId="2005893529" sldId="560"/>
            <ac:spMk id="14" creationId="{A50D75F6-A1F9-C5D2-EB66-32E633374B68}"/>
          </ac:spMkLst>
        </pc:spChg>
        <pc:spChg chg="add mod">
          <ac:chgData name="Nivedha N A" userId="48795343-f4b0-4368-b9f1-c6e5f3910d48" providerId="ADAL" clId="{3E51CB64-41DE-4E99-AA61-015D66A9A29C}" dt="2025-09-01T16:17:05.613" v="2753" actId="20577"/>
          <ac:spMkLst>
            <pc:docMk/>
            <pc:sldMk cId="2005893529" sldId="560"/>
            <ac:spMk id="17" creationId="{B5D6CACE-FEA3-F33D-6AA1-E99F1BCC5EF1}"/>
          </ac:spMkLst>
        </pc:spChg>
        <pc:picChg chg="add mod">
          <ac:chgData name="Nivedha N A" userId="48795343-f4b0-4368-b9f1-c6e5f3910d48" providerId="ADAL" clId="{3E51CB64-41DE-4E99-AA61-015D66A9A29C}" dt="2025-09-01T16:01:21.190" v="2708" actId="1076"/>
          <ac:picMkLst>
            <pc:docMk/>
            <pc:sldMk cId="2005893529" sldId="560"/>
            <ac:picMk id="3080" creationId="{34019E49-C474-8F33-21E5-85DE57290507}"/>
          </ac:picMkLst>
        </pc:picChg>
        <pc:picChg chg="add mod">
          <ac:chgData name="Nivedha N A" userId="48795343-f4b0-4368-b9f1-c6e5f3910d48" providerId="ADAL" clId="{3E51CB64-41DE-4E99-AA61-015D66A9A29C}" dt="2025-09-01T15:59:20.050" v="2700" actId="14100"/>
          <ac:picMkLst>
            <pc:docMk/>
            <pc:sldMk cId="2005893529" sldId="560"/>
            <ac:picMk id="3086" creationId="{A7CA63AD-1EE1-4376-678B-98470C54D9FB}"/>
          </ac:picMkLst>
        </pc:picChg>
        <pc:picChg chg="add mod">
          <ac:chgData name="Nivedha N A" userId="48795343-f4b0-4368-b9f1-c6e5f3910d48" providerId="ADAL" clId="{3E51CB64-41DE-4E99-AA61-015D66A9A29C}" dt="2025-09-01T16:01:29.867" v="2709" actId="14100"/>
          <ac:picMkLst>
            <pc:docMk/>
            <pc:sldMk cId="2005893529" sldId="560"/>
            <ac:picMk id="3088" creationId="{7C0F1331-D379-4DB9-63D0-BD7F7B5D9988}"/>
          </ac:picMkLst>
        </pc:picChg>
        <pc:picChg chg="add mod">
          <ac:chgData name="Nivedha N A" userId="48795343-f4b0-4368-b9f1-c6e5f3910d48" providerId="ADAL" clId="{3E51CB64-41DE-4E99-AA61-015D66A9A29C}" dt="2025-09-01T16:23:43.783" v="2763" actId="14100"/>
          <ac:picMkLst>
            <pc:docMk/>
            <pc:sldMk cId="2005893529" sldId="560"/>
            <ac:picMk id="3092" creationId="{3CF74EAC-7769-1942-2489-4E4064CE53DF}"/>
          </ac:picMkLst>
        </pc:picChg>
      </pc:sldChg>
      <pc:sldChg chg="addSp delSp modSp add mod ord">
        <pc:chgData name="Nivedha N A" userId="48795343-f4b0-4368-b9f1-c6e5f3910d48" providerId="ADAL" clId="{3E51CB64-41DE-4E99-AA61-015D66A9A29C}" dt="2025-09-10T11:46:35.866" v="10093"/>
        <pc:sldMkLst>
          <pc:docMk/>
          <pc:sldMk cId="936466097" sldId="561"/>
        </pc:sldMkLst>
        <pc:spChg chg="mod">
          <ac:chgData name="Nivedha N A" userId="48795343-f4b0-4368-b9f1-c6e5f3910d48" providerId="ADAL" clId="{3E51CB64-41DE-4E99-AA61-015D66A9A29C}" dt="2025-09-01T13:36:37.843" v="2434"/>
          <ac:spMkLst>
            <pc:docMk/>
            <pc:sldMk cId="936466097" sldId="561"/>
            <ac:spMk id="3" creationId="{6739A735-BC7F-BC4E-D84F-5C5114189CEA}"/>
          </ac:spMkLst>
        </pc:spChg>
        <pc:spChg chg="mod">
          <ac:chgData name="Nivedha N A" userId="48795343-f4b0-4368-b9f1-c6e5f3910d48" providerId="ADAL" clId="{3E51CB64-41DE-4E99-AA61-015D66A9A29C}" dt="2025-09-01T12:23:51.563" v="1552" actId="20577"/>
          <ac:spMkLst>
            <pc:docMk/>
            <pc:sldMk cId="936466097" sldId="561"/>
            <ac:spMk id="15" creationId="{F89C7623-D0ED-6B8B-9C1D-39F4E36E8A6C}"/>
          </ac:spMkLst>
        </pc:spChg>
        <pc:spChg chg="add mod">
          <ac:chgData name="Nivedha N A" userId="48795343-f4b0-4368-b9f1-c6e5f3910d48" providerId="ADAL" clId="{3E51CB64-41DE-4E99-AA61-015D66A9A29C}" dt="2025-09-01T16:13:27.013" v="2721"/>
          <ac:spMkLst>
            <pc:docMk/>
            <pc:sldMk cId="936466097" sldId="561"/>
            <ac:spMk id="18" creationId="{1EF0E18C-3BE3-52FD-D83E-C6F182C5FDFA}"/>
          </ac:spMkLst>
        </pc:spChg>
        <pc:spChg chg="add mod">
          <ac:chgData name="Nivedha N A" userId="48795343-f4b0-4368-b9f1-c6e5f3910d48" providerId="ADAL" clId="{3E51CB64-41DE-4E99-AA61-015D66A9A29C}" dt="2025-09-01T16:13:49.809" v="2722"/>
          <ac:spMkLst>
            <pc:docMk/>
            <pc:sldMk cId="936466097" sldId="561"/>
            <ac:spMk id="19" creationId="{1A30D743-B4A6-D96B-54C2-7B7CC11E23FC}"/>
          </ac:spMkLst>
        </pc:spChg>
        <pc:picChg chg="add mod">
          <ac:chgData name="Nivedha N A" userId="48795343-f4b0-4368-b9f1-c6e5f3910d48" providerId="ADAL" clId="{3E51CB64-41DE-4E99-AA61-015D66A9A29C}" dt="2025-09-01T16:12:57.478" v="2719" actId="14100"/>
          <ac:picMkLst>
            <pc:docMk/>
            <pc:sldMk cId="936466097" sldId="561"/>
            <ac:picMk id="13" creationId="{003124DD-6AA0-532B-9CC7-4F7A0EA76337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1T12:35:38.564" v="1761" actId="2696"/>
        <pc:sldMkLst>
          <pc:docMk/>
          <pc:sldMk cId="782349031" sldId="562"/>
        </pc:sldMkLst>
      </pc:sldChg>
      <pc:sldChg chg="addSp delSp modSp add mod ord">
        <pc:chgData name="Nivedha N A" userId="48795343-f4b0-4368-b9f1-c6e5f3910d48" providerId="ADAL" clId="{3E51CB64-41DE-4E99-AA61-015D66A9A29C}" dt="2025-09-06T12:04:29.460" v="5709"/>
        <pc:sldMkLst>
          <pc:docMk/>
          <pc:sldMk cId="1261867268" sldId="562"/>
        </pc:sldMkLst>
        <pc:spChg chg="mod">
          <ac:chgData name="Nivedha N A" userId="48795343-f4b0-4368-b9f1-c6e5f3910d48" providerId="ADAL" clId="{3E51CB64-41DE-4E99-AA61-015D66A9A29C}" dt="2025-09-01T12:51:17.897" v="2268" actId="20577"/>
          <ac:spMkLst>
            <pc:docMk/>
            <pc:sldMk cId="1261867268" sldId="562"/>
            <ac:spMk id="2" creationId="{30B707F3-6196-EB39-B9ED-1D3524A0D68E}"/>
          </ac:spMkLst>
        </pc:spChg>
        <pc:spChg chg="mod">
          <ac:chgData name="Nivedha N A" userId="48795343-f4b0-4368-b9f1-c6e5f3910d48" providerId="ADAL" clId="{3E51CB64-41DE-4E99-AA61-015D66A9A29C}" dt="2025-09-01T13:36:58.489" v="2438"/>
          <ac:spMkLst>
            <pc:docMk/>
            <pc:sldMk cId="1261867268" sldId="562"/>
            <ac:spMk id="3" creationId="{C43A7C92-91F2-5AE5-B96D-8AE32B7AFB40}"/>
          </ac:spMkLst>
        </pc:spChg>
        <pc:spChg chg="add del mod">
          <ac:chgData name="Nivedha N A" userId="48795343-f4b0-4368-b9f1-c6e5f3910d48" providerId="ADAL" clId="{3E51CB64-41DE-4E99-AA61-015D66A9A29C}" dt="2025-09-02T03:16:50.463" v="2938" actId="1076"/>
          <ac:spMkLst>
            <pc:docMk/>
            <pc:sldMk cId="1261867268" sldId="562"/>
            <ac:spMk id="6" creationId="{8AAD3E2C-A803-6A46-085E-BE34B5687CBD}"/>
          </ac:spMkLst>
        </pc:spChg>
        <pc:spChg chg="add mod">
          <ac:chgData name="Nivedha N A" userId="48795343-f4b0-4368-b9f1-c6e5f3910d48" providerId="ADAL" clId="{3E51CB64-41DE-4E99-AA61-015D66A9A29C}" dt="2025-09-01T13:30:00.572" v="2368" actId="14100"/>
          <ac:spMkLst>
            <pc:docMk/>
            <pc:sldMk cId="1261867268" sldId="562"/>
            <ac:spMk id="10" creationId="{8C459260-035B-99C1-88F0-CE844B7C1C85}"/>
          </ac:spMkLst>
        </pc:spChg>
      </pc:sldChg>
      <pc:sldChg chg="new del">
        <pc:chgData name="Nivedha N A" userId="48795343-f4b0-4368-b9f1-c6e5f3910d48" providerId="ADAL" clId="{3E51CB64-41DE-4E99-AA61-015D66A9A29C}" dt="2025-09-02T13:54:58.366" v="3526" actId="2696"/>
        <pc:sldMkLst>
          <pc:docMk/>
          <pc:sldMk cId="466951201" sldId="563"/>
        </pc:sldMkLst>
      </pc:sldChg>
      <pc:sldChg chg="addSp delSp modSp add mod">
        <pc:chgData name="Nivedha N A" userId="48795343-f4b0-4368-b9f1-c6e5f3910d48" providerId="ADAL" clId="{3E51CB64-41DE-4E99-AA61-015D66A9A29C}" dt="2025-09-02T03:29:18.768" v="3003" actId="20577"/>
        <pc:sldMkLst>
          <pc:docMk/>
          <pc:sldMk cId="3649489225" sldId="564"/>
        </pc:sldMkLst>
        <pc:spChg chg="mod">
          <ac:chgData name="Nivedha N A" userId="48795343-f4b0-4368-b9f1-c6e5f3910d48" providerId="ADAL" clId="{3E51CB64-41DE-4E99-AA61-015D66A9A29C}" dt="2025-09-01T13:31:50.586" v="2374"/>
          <ac:spMkLst>
            <pc:docMk/>
            <pc:sldMk cId="3649489225" sldId="564"/>
            <ac:spMk id="2" creationId="{9F6D37B4-AF0E-46F6-FCE2-48C37E0C6FE1}"/>
          </ac:spMkLst>
        </pc:spChg>
        <pc:spChg chg="mod">
          <ac:chgData name="Nivedha N A" userId="48795343-f4b0-4368-b9f1-c6e5f3910d48" providerId="ADAL" clId="{3E51CB64-41DE-4E99-AA61-015D66A9A29C}" dt="2025-09-01T13:38:44.385" v="2451"/>
          <ac:spMkLst>
            <pc:docMk/>
            <pc:sldMk cId="3649489225" sldId="564"/>
            <ac:spMk id="3" creationId="{E7162FED-278D-D633-F102-0CF26F04F46F}"/>
          </ac:spMkLst>
        </pc:spChg>
        <pc:spChg chg="mod">
          <ac:chgData name="Nivedha N A" userId="48795343-f4b0-4368-b9f1-c6e5f3910d48" providerId="ADAL" clId="{3E51CB64-41DE-4E99-AA61-015D66A9A29C}" dt="2025-09-02T03:29:18.768" v="3003" actId="20577"/>
          <ac:spMkLst>
            <pc:docMk/>
            <pc:sldMk cId="3649489225" sldId="564"/>
            <ac:spMk id="6" creationId="{1B4D34F3-526F-CE6C-6351-F4D230C09F4E}"/>
          </ac:spMkLst>
        </pc:spChg>
      </pc:sldChg>
      <pc:sldChg chg="addSp delSp modSp add del mod modClrScheme chgLayout">
        <pc:chgData name="Nivedha N A" userId="48795343-f4b0-4368-b9f1-c6e5f3910d48" providerId="ADAL" clId="{3E51CB64-41DE-4E99-AA61-015D66A9A29C}" dt="2025-09-06T12:05:07.307" v="5718" actId="2696"/>
        <pc:sldMkLst>
          <pc:docMk/>
          <pc:sldMk cId="4230274081" sldId="565"/>
        </pc:sldMkLst>
      </pc:sldChg>
      <pc:sldChg chg="addSp delSp modSp add mod modClrScheme chgLayout">
        <pc:chgData name="Nivedha N A" userId="48795343-f4b0-4368-b9f1-c6e5f3910d48" providerId="ADAL" clId="{3E51CB64-41DE-4E99-AA61-015D66A9A29C}" dt="2025-09-02T12:19:33.010" v="3481" actId="14100"/>
        <pc:sldMkLst>
          <pc:docMk/>
          <pc:sldMk cId="1746813339" sldId="566"/>
        </pc:sldMkLst>
        <pc:spChg chg="mod or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2" creationId="{40AD5F32-B918-473A-D1D2-584FBE2FC3C5}"/>
          </ac:spMkLst>
        </pc:spChg>
        <pc:spChg chg="mo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3" creationId="{04FBF6E3-0EA4-553F-7B52-56AC215FB13E}"/>
          </ac:spMkLst>
        </pc:spChg>
        <pc:spChg chg="mo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4" creationId="{BA64A9BC-0E30-4764-9E37-13BE9046AF59}"/>
          </ac:spMkLst>
        </pc:spChg>
        <pc:picChg chg="add mod">
          <ac:chgData name="Nivedha N A" userId="48795343-f4b0-4368-b9f1-c6e5f3910d48" providerId="ADAL" clId="{3E51CB64-41DE-4E99-AA61-015D66A9A29C}" dt="2025-09-02T12:19:33.010" v="3481" actId="14100"/>
          <ac:picMkLst>
            <pc:docMk/>
            <pc:sldMk cId="1746813339" sldId="566"/>
            <ac:picMk id="6" creationId="{00D784FB-97BB-0C31-F6B3-780689449BD1}"/>
          </ac:picMkLst>
        </pc:picChg>
      </pc:sldChg>
      <pc:sldChg chg="addSp delSp modSp add mod ord modClrScheme chgLayout">
        <pc:chgData name="Nivedha N A" userId="48795343-f4b0-4368-b9f1-c6e5f3910d48" providerId="ADAL" clId="{3E51CB64-41DE-4E99-AA61-015D66A9A29C}" dt="2025-09-06T12:04:37.515" v="5711"/>
        <pc:sldMkLst>
          <pc:docMk/>
          <pc:sldMk cId="1825012440" sldId="567"/>
        </pc:sldMkLst>
        <pc:spChg chg="mod or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2" creationId="{3462E56D-F9B5-BC04-C764-2814FAB38C9A}"/>
          </ac:spMkLst>
        </pc:spChg>
        <pc:spChg chg="mo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3" creationId="{4FC2060A-D8F3-DEEF-1CEF-E5AFD55A8C80}"/>
          </ac:spMkLst>
        </pc:spChg>
        <pc:spChg chg="mo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4" creationId="{7CAD7A2D-F2CF-15DD-2D79-254CD41AC335}"/>
          </ac:spMkLst>
        </pc:spChg>
        <pc:spChg chg="ord">
          <ac:chgData name="Nivedha N A" userId="48795343-f4b0-4368-b9f1-c6e5f3910d48" providerId="ADAL" clId="{3E51CB64-41DE-4E99-AA61-015D66A9A29C}" dt="2025-09-02T03:09:52.102" v="2784" actId="26606"/>
          <ac:spMkLst>
            <pc:docMk/>
            <pc:sldMk cId="1825012440" sldId="567"/>
            <ac:spMk id="10" creationId="{E4D8E35A-1236-FD4F-D369-3A23C73AFCC0}"/>
          </ac:spMkLst>
        </pc:spChg>
        <pc:picChg chg="mod">
          <ac:chgData name="Nivedha N A" userId="48795343-f4b0-4368-b9f1-c6e5f3910d48" providerId="ADAL" clId="{3E51CB64-41DE-4E99-AA61-015D66A9A29C}" dt="2025-09-02T03:16:25.832" v="2934" actId="14100"/>
          <ac:picMkLst>
            <pc:docMk/>
            <pc:sldMk cId="1825012440" sldId="567"/>
            <ac:picMk id="5124" creationId="{11BEAD29-AB20-6767-8719-8300FF2AAF0E}"/>
          </ac:picMkLst>
        </pc:picChg>
      </pc:sldChg>
      <pc:sldChg chg="addSp delSp modSp add mod ord modClrScheme chgLayout">
        <pc:chgData name="Nivedha N A" userId="48795343-f4b0-4368-b9f1-c6e5f3910d48" providerId="ADAL" clId="{3E51CB64-41DE-4E99-AA61-015D66A9A29C}" dt="2025-09-06T12:04:44.607" v="5713"/>
        <pc:sldMkLst>
          <pc:docMk/>
          <pc:sldMk cId="2693548094" sldId="568"/>
        </pc:sldMkLst>
        <pc:spChg chg="mod or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2" creationId="{3FC4C995-2DFB-9BCC-4077-9283C3361552}"/>
          </ac:spMkLst>
        </pc:spChg>
        <pc:spChg chg="mo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3" creationId="{B1228013-0A37-948E-7AE2-A2F6B90D8C2A}"/>
          </ac:spMkLst>
        </pc:spChg>
        <pc:spChg chg="mo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4" creationId="{FF42A8FF-A1E8-9891-E9CB-4EB573704392}"/>
          </ac:spMkLst>
        </pc:spChg>
        <pc:spChg chg="ord">
          <ac:chgData name="Nivedha N A" userId="48795343-f4b0-4368-b9f1-c6e5f3910d48" providerId="ADAL" clId="{3E51CB64-41DE-4E99-AA61-015D66A9A29C}" dt="2025-09-02T03:10:58.225" v="2798" actId="26606"/>
          <ac:spMkLst>
            <pc:docMk/>
            <pc:sldMk cId="2693548094" sldId="568"/>
            <ac:spMk id="10" creationId="{27FBF77E-5846-F176-4BA6-B65CB1491C54}"/>
          </ac:spMkLst>
        </pc:spChg>
        <pc:picChg chg="add mod">
          <ac:chgData name="Nivedha N A" userId="48795343-f4b0-4368-b9f1-c6e5f3910d48" providerId="ADAL" clId="{3E51CB64-41DE-4E99-AA61-015D66A9A29C}" dt="2025-09-02T03:15:52.917" v="2929" actId="14100"/>
          <ac:picMkLst>
            <pc:docMk/>
            <pc:sldMk cId="2693548094" sldId="568"/>
            <ac:picMk id="5" creationId="{C4C14E67-24B5-B477-A0DF-8B9C701C4CEE}"/>
          </ac:picMkLst>
        </pc:picChg>
      </pc:sldChg>
      <pc:sldChg chg="addSp delSp modSp add mod ord modClrScheme chgLayout">
        <pc:chgData name="Nivedha N A" userId="48795343-f4b0-4368-b9f1-c6e5f3910d48" providerId="ADAL" clId="{3E51CB64-41DE-4E99-AA61-015D66A9A29C}" dt="2025-09-06T12:04:47.278" v="5715"/>
        <pc:sldMkLst>
          <pc:docMk/>
          <pc:sldMk cId="761109382" sldId="569"/>
        </pc:sldMkLst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2" creationId="{694E2919-8009-7F1B-7FF4-87A6DF906D49}"/>
          </ac:spMkLst>
        </pc:spChg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3" creationId="{1ECEB577-A7B4-CDB4-6BE3-6C1E825074D3}"/>
          </ac:spMkLst>
        </pc:spChg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4" creationId="{FC7AE0B1-756D-099E-9E75-DECB376869CF}"/>
          </ac:spMkLst>
        </pc:spChg>
        <pc:spChg chg="or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10" creationId="{7A0207C6-8055-4C02-3546-F425009E4E0C}"/>
          </ac:spMkLst>
        </pc:spChg>
        <pc:picChg chg="add mod">
          <ac:chgData name="Nivedha N A" userId="48795343-f4b0-4368-b9f1-c6e5f3910d48" providerId="ADAL" clId="{3E51CB64-41DE-4E99-AA61-015D66A9A29C}" dt="2025-09-02T03:16:03.771" v="2930" actId="14100"/>
          <ac:picMkLst>
            <pc:docMk/>
            <pc:sldMk cId="761109382" sldId="569"/>
            <ac:picMk id="8" creationId="{28E8C03E-7778-48C5-C74B-7F11761FBE71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2T03:25:52.040" v="2952" actId="14100"/>
        <pc:sldMkLst>
          <pc:docMk/>
          <pc:sldMk cId="3145107186" sldId="570"/>
        </pc:sldMkLst>
        <pc:picChg chg="add mod">
          <ac:chgData name="Nivedha N A" userId="48795343-f4b0-4368-b9f1-c6e5f3910d48" providerId="ADAL" clId="{3E51CB64-41DE-4E99-AA61-015D66A9A29C}" dt="2025-09-02T03:25:52.040" v="2952" actId="14100"/>
          <ac:picMkLst>
            <pc:docMk/>
            <pc:sldMk cId="3145107186" sldId="570"/>
            <ac:picMk id="10242" creationId="{5532B730-7423-4FF8-117C-7FAFEFC0463D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2T04:32:53.031" v="3126" actId="2696"/>
        <pc:sldMkLst>
          <pc:docMk/>
          <pc:sldMk cId="3906127166" sldId="571"/>
        </pc:sldMkLst>
      </pc:sldChg>
      <pc:sldChg chg="addSp delSp modSp add del mod">
        <pc:chgData name="Nivedha N A" userId="48795343-f4b0-4368-b9f1-c6e5f3910d48" providerId="ADAL" clId="{3E51CB64-41DE-4E99-AA61-015D66A9A29C}" dt="2025-09-02T04:32:06.174" v="3103" actId="2696"/>
        <pc:sldMkLst>
          <pc:docMk/>
          <pc:sldMk cId="1160093553" sldId="572"/>
        </pc:sldMkLst>
      </pc:sldChg>
      <pc:sldChg chg="addSp delSp modSp add del mod ord">
        <pc:chgData name="Nivedha N A" userId="48795343-f4b0-4368-b9f1-c6e5f3910d48" providerId="ADAL" clId="{3E51CB64-41DE-4E99-AA61-015D66A9A29C}" dt="2025-09-02T05:18:47.984" v="3338" actId="2696"/>
        <pc:sldMkLst>
          <pc:docMk/>
          <pc:sldMk cId="1651995148" sldId="573"/>
        </pc:sldMkLst>
      </pc:sldChg>
      <pc:sldChg chg="addSp delSp modSp add del mod ord">
        <pc:chgData name="Nivedha N A" userId="48795343-f4b0-4368-b9f1-c6e5f3910d48" providerId="ADAL" clId="{3E51CB64-41DE-4E99-AA61-015D66A9A29C}" dt="2025-09-06T10:28:58.973" v="5202" actId="2696"/>
        <pc:sldMkLst>
          <pc:docMk/>
          <pc:sldMk cId="2259301310" sldId="574"/>
        </pc:sldMkLst>
      </pc:sldChg>
      <pc:sldChg chg="addSp delSp modSp add mod">
        <pc:chgData name="Nivedha N A" userId="48795343-f4b0-4368-b9f1-c6e5f3910d48" providerId="ADAL" clId="{3E51CB64-41DE-4E99-AA61-015D66A9A29C}" dt="2025-09-08T09:25:43.245" v="7837" actId="20577"/>
        <pc:sldMkLst>
          <pc:docMk/>
          <pc:sldMk cId="874496626" sldId="575"/>
        </pc:sldMkLst>
        <pc:spChg chg="mod">
          <ac:chgData name="Nivedha N A" userId="48795343-f4b0-4368-b9f1-c6e5f3910d48" providerId="ADAL" clId="{3E51CB64-41DE-4E99-AA61-015D66A9A29C}" dt="2025-09-06T09:40:08.136" v="4797" actId="20577"/>
          <ac:spMkLst>
            <pc:docMk/>
            <pc:sldMk cId="874496626" sldId="575"/>
            <ac:spMk id="2" creationId="{AD9F0902-B9E8-896B-324C-BE222D374437}"/>
          </ac:spMkLst>
        </pc:spChg>
        <pc:spChg chg="ord">
          <ac:chgData name="Nivedha N A" userId="48795343-f4b0-4368-b9f1-c6e5f3910d48" providerId="ADAL" clId="{3E51CB64-41DE-4E99-AA61-015D66A9A29C}" dt="2025-09-02T08:51:57.412" v="3460" actId="26606"/>
          <ac:spMkLst>
            <pc:docMk/>
            <pc:sldMk cId="874496626" sldId="575"/>
            <ac:spMk id="10" creationId="{AEF40793-6AFD-D608-59F4-86BB92BEFAEA}"/>
          </ac:spMkLst>
        </pc:spChg>
        <pc:spChg chg="add mod">
          <ac:chgData name="Nivedha N A" userId="48795343-f4b0-4368-b9f1-c6e5f3910d48" providerId="ADAL" clId="{3E51CB64-41DE-4E99-AA61-015D66A9A29C}" dt="2025-09-08T09:25:43.245" v="7837" actId="20577"/>
          <ac:spMkLst>
            <pc:docMk/>
            <pc:sldMk cId="874496626" sldId="575"/>
            <ac:spMk id="11" creationId="{543D0D9A-4522-C539-71B3-F2BED35D9868}"/>
          </ac:spMkLst>
        </pc:spChg>
      </pc:sldChg>
      <pc:sldChg chg="addSp modSp add mod ord">
        <pc:chgData name="Nivedha N A" userId="48795343-f4b0-4368-b9f1-c6e5f3910d48" providerId="ADAL" clId="{3E51CB64-41DE-4E99-AA61-015D66A9A29C}" dt="2025-09-04T07:13:35.229" v="4037" actId="1076"/>
        <pc:sldMkLst>
          <pc:docMk/>
          <pc:sldMk cId="3546195424" sldId="576"/>
        </pc:sldMkLst>
        <pc:spChg chg="mod">
          <ac:chgData name="Nivedha N A" userId="48795343-f4b0-4368-b9f1-c6e5f3910d48" providerId="ADAL" clId="{3E51CB64-41DE-4E99-AA61-015D66A9A29C}" dt="2025-09-04T07:02:23.785" v="3777" actId="20577"/>
          <ac:spMkLst>
            <pc:docMk/>
            <pc:sldMk cId="3546195424" sldId="576"/>
            <ac:spMk id="2" creationId="{FD577CFF-241D-FBD8-1045-BE0880F4DA4A}"/>
          </ac:spMkLst>
        </pc:spChg>
        <pc:spChg chg="add mod">
          <ac:chgData name="Nivedha N A" userId="48795343-f4b0-4368-b9f1-c6e5f3910d48" providerId="ADAL" clId="{3E51CB64-41DE-4E99-AA61-015D66A9A29C}" dt="2025-09-04T07:11:31.373" v="3838" actId="20577"/>
          <ac:spMkLst>
            <pc:docMk/>
            <pc:sldMk cId="3546195424" sldId="576"/>
            <ac:spMk id="5" creationId="{3DF9065D-C715-0BAE-4033-C61C8F638666}"/>
          </ac:spMkLst>
        </pc:spChg>
        <pc:spChg chg="mod">
          <ac:chgData name="Nivedha N A" userId="48795343-f4b0-4368-b9f1-c6e5f3910d48" providerId="ADAL" clId="{3E51CB64-41DE-4E99-AA61-015D66A9A29C}" dt="2025-09-04T07:10:59.320" v="3778" actId="14100"/>
          <ac:spMkLst>
            <pc:docMk/>
            <pc:sldMk cId="3546195424" sldId="576"/>
            <ac:spMk id="6" creationId="{E178A31A-4F37-D5F6-1D34-DD5BCE174798}"/>
          </ac:spMkLst>
        </pc:spChg>
        <pc:spChg chg="add mod">
          <ac:chgData name="Nivedha N A" userId="48795343-f4b0-4368-b9f1-c6e5f3910d48" providerId="ADAL" clId="{3E51CB64-41DE-4E99-AA61-015D66A9A29C}" dt="2025-09-04T07:13:35.229" v="4037" actId="1076"/>
          <ac:spMkLst>
            <pc:docMk/>
            <pc:sldMk cId="3546195424" sldId="576"/>
            <ac:spMk id="7" creationId="{260E21CC-E164-8D93-AC94-6704220FC999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4T05:11:40.803" v="3566" actId="20577"/>
        <pc:sldMkLst>
          <pc:docMk/>
          <pc:sldMk cId="2239801809" sldId="577"/>
        </pc:sldMkLst>
        <pc:spChg chg="mod">
          <ac:chgData name="Nivedha N A" userId="48795343-f4b0-4368-b9f1-c6e5f3910d48" providerId="ADAL" clId="{3E51CB64-41DE-4E99-AA61-015D66A9A29C}" dt="2025-09-04T05:11:40.803" v="3566" actId="20577"/>
          <ac:spMkLst>
            <pc:docMk/>
            <pc:sldMk cId="2239801809" sldId="577"/>
            <ac:spMk id="2" creationId="{7F9C8B91-87E7-2889-090E-E46BA5435F1A}"/>
          </ac:spMkLst>
        </pc:spChg>
        <pc:picChg chg="add mod">
          <ac:chgData name="Nivedha N A" userId="48795343-f4b0-4368-b9f1-c6e5f3910d48" providerId="ADAL" clId="{3E51CB64-41DE-4E99-AA61-015D66A9A29C}" dt="2025-09-04T05:11:13.971" v="3542" actId="14100"/>
          <ac:picMkLst>
            <pc:docMk/>
            <pc:sldMk cId="2239801809" sldId="577"/>
            <ac:picMk id="1026" creationId="{F0E12A8F-6CF2-383B-FB94-6DE3E43C3E60}"/>
          </ac:picMkLst>
        </pc:picChg>
      </pc:sldChg>
      <pc:sldChg chg="addSp delSp modSp add del mod ord">
        <pc:chgData name="Nivedha N A" userId="48795343-f4b0-4368-b9f1-c6e5f3910d48" providerId="ADAL" clId="{3E51CB64-41DE-4E99-AA61-015D66A9A29C}" dt="2025-09-04T06:59:59.987" v="3752" actId="2696"/>
        <pc:sldMkLst>
          <pc:docMk/>
          <pc:sldMk cId="588287756" sldId="578"/>
        </pc:sldMkLst>
      </pc:sldChg>
      <pc:sldChg chg="addSp delSp modSp add mod">
        <pc:chgData name="Nivedha N A" userId="48795343-f4b0-4368-b9f1-c6e5f3910d48" providerId="ADAL" clId="{3E51CB64-41DE-4E99-AA61-015D66A9A29C}" dt="2025-09-04T07:01:26.682" v="3755"/>
        <pc:sldMkLst>
          <pc:docMk/>
          <pc:sldMk cId="1428981574" sldId="578"/>
        </pc:sldMkLst>
        <pc:picChg chg="add mod">
          <ac:chgData name="Nivedha N A" userId="48795343-f4b0-4368-b9f1-c6e5f3910d48" providerId="ADAL" clId="{3E51CB64-41DE-4E99-AA61-015D66A9A29C}" dt="2025-09-04T07:01:26.682" v="3755"/>
          <ac:picMkLst>
            <pc:docMk/>
            <pc:sldMk cId="1428981574" sldId="578"/>
            <ac:picMk id="2050" creationId="{8E7C6AA6-B143-FD7C-92B4-2CF96684BF77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6T12:10:22.021" v="5772" actId="20577"/>
        <pc:sldMkLst>
          <pc:docMk/>
          <pc:sldMk cId="20709100" sldId="579"/>
        </pc:sldMkLst>
        <pc:spChg chg="mod">
          <ac:chgData name="Nivedha N A" userId="48795343-f4b0-4368-b9f1-c6e5f3910d48" providerId="ADAL" clId="{3E51CB64-41DE-4E99-AA61-015D66A9A29C}" dt="2025-09-04T07:17:02.287" v="4039"/>
          <ac:spMkLst>
            <pc:docMk/>
            <pc:sldMk cId="20709100" sldId="579"/>
            <ac:spMk id="2" creationId="{BB2961E1-423C-1277-7D45-F47FE0523E06}"/>
          </ac:spMkLst>
        </pc:spChg>
        <pc:spChg chg="add del mod">
          <ac:chgData name="Nivedha N A" userId="48795343-f4b0-4368-b9f1-c6e5f3910d48" providerId="ADAL" clId="{3E51CB64-41DE-4E99-AA61-015D66A9A29C}" dt="2025-09-04T07:57:07.449" v="4284" actId="1076"/>
          <ac:spMkLst>
            <pc:docMk/>
            <pc:sldMk cId="20709100" sldId="579"/>
            <ac:spMk id="5" creationId="{6BA039A2-05E3-B470-1A6F-50A18922C07C}"/>
          </ac:spMkLst>
        </pc:spChg>
        <pc:spChg chg="mod">
          <ac:chgData name="Nivedha N A" userId="48795343-f4b0-4368-b9f1-c6e5f3910d48" providerId="ADAL" clId="{3E51CB64-41DE-4E99-AA61-015D66A9A29C}" dt="2025-09-06T12:10:22.021" v="5772" actId="20577"/>
          <ac:spMkLst>
            <pc:docMk/>
            <pc:sldMk cId="20709100" sldId="579"/>
            <ac:spMk id="6" creationId="{2530A07A-2079-C05E-4819-88200AA197E1}"/>
          </ac:spMkLst>
        </pc:spChg>
        <pc:spChg chg="add del mod">
          <ac:chgData name="Nivedha N A" userId="48795343-f4b0-4368-b9f1-c6e5f3910d48" providerId="ADAL" clId="{3E51CB64-41DE-4E99-AA61-015D66A9A29C}" dt="2025-09-04T07:24:23.080" v="4061" actId="21"/>
          <ac:spMkLst>
            <pc:docMk/>
            <pc:sldMk cId="20709100" sldId="579"/>
            <ac:spMk id="7" creationId="{7EDFDA3A-1FB9-7025-2FCB-2DC3E1D7E939}"/>
          </ac:spMkLst>
        </pc:spChg>
        <pc:spChg chg="add mod">
          <ac:chgData name="Nivedha N A" userId="48795343-f4b0-4368-b9f1-c6e5f3910d48" providerId="ADAL" clId="{3E51CB64-41DE-4E99-AA61-015D66A9A29C}" dt="2025-09-04T07:57:13.244" v="4285" actId="1076"/>
          <ac:spMkLst>
            <pc:docMk/>
            <pc:sldMk cId="20709100" sldId="579"/>
            <ac:spMk id="12" creationId="{81A8FA8E-0934-0A61-3B45-1421D5EDBB81}"/>
          </ac:spMkLst>
        </pc:spChg>
      </pc:sldChg>
      <pc:sldChg chg="addSp delSp modSp add del mod">
        <pc:chgData name="Nivedha N A" userId="48795343-f4b0-4368-b9f1-c6e5f3910d48" providerId="ADAL" clId="{3E51CB64-41DE-4E99-AA61-015D66A9A29C}" dt="2025-09-04T06:59:56.531" v="3751" actId="2696"/>
        <pc:sldMkLst>
          <pc:docMk/>
          <pc:sldMk cId="4093915870" sldId="579"/>
        </pc:sldMkLst>
      </pc:sldChg>
      <pc:sldChg chg="addSp delSp modSp add del mod ord">
        <pc:chgData name="Nivedha N A" userId="48795343-f4b0-4368-b9f1-c6e5f3910d48" providerId="ADAL" clId="{3E51CB64-41DE-4E99-AA61-015D66A9A29C}" dt="2025-09-04T07:56:25.709" v="4279" actId="2696"/>
        <pc:sldMkLst>
          <pc:docMk/>
          <pc:sldMk cId="3979886337" sldId="580"/>
        </pc:sldMkLst>
      </pc:sldChg>
      <pc:sldChg chg="addSp delSp modSp add del mod ord">
        <pc:chgData name="Nivedha N A" userId="48795343-f4b0-4368-b9f1-c6e5f3910d48" providerId="ADAL" clId="{3E51CB64-41DE-4E99-AA61-015D66A9A29C}" dt="2025-09-11T06:57:23.197" v="10999" actId="2696"/>
        <pc:sldMkLst>
          <pc:docMk/>
          <pc:sldMk cId="2067814136" sldId="581"/>
        </pc:sldMkLst>
        <pc:picChg chg="add del mod">
          <ac:chgData name="Nivedha N A" userId="48795343-f4b0-4368-b9f1-c6e5f3910d48" providerId="ADAL" clId="{3E51CB64-41DE-4E99-AA61-015D66A9A29C}" dt="2025-09-11T05:57:08.186" v="10984" actId="21"/>
          <ac:picMkLst>
            <pc:docMk/>
            <pc:sldMk cId="2067814136" sldId="581"/>
            <ac:picMk id="6" creationId="{636EF97C-CF0D-E443-BF79-32B022ED5990}"/>
          </ac:picMkLst>
        </pc:picChg>
        <pc:picChg chg="add mod">
          <ac:chgData name="Nivedha N A" userId="48795343-f4b0-4368-b9f1-c6e5f3910d48" providerId="ADAL" clId="{3E51CB64-41DE-4E99-AA61-015D66A9A29C}" dt="2025-09-11T05:57:16.410" v="10986" actId="1076"/>
          <ac:picMkLst>
            <pc:docMk/>
            <pc:sldMk cId="2067814136" sldId="581"/>
            <ac:picMk id="7" creationId="{334B89B3-5DB8-BDC8-E09F-07B2F9369FFB}"/>
          </ac:picMkLst>
        </pc:picChg>
      </pc:sldChg>
      <pc:sldChg chg="addSp delSp modSp add del mod ord modClrScheme chgLayout">
        <pc:chgData name="Nivedha N A" userId="48795343-f4b0-4368-b9f1-c6e5f3910d48" providerId="ADAL" clId="{3E51CB64-41DE-4E99-AA61-015D66A9A29C}" dt="2025-09-11T05:51:34.067" v="10963" actId="2696"/>
        <pc:sldMkLst>
          <pc:docMk/>
          <pc:sldMk cId="1850419535" sldId="582"/>
        </pc:sldMkLst>
      </pc:sldChg>
      <pc:sldChg chg="modSp add">
        <pc:chgData name="Nivedha N A" userId="48795343-f4b0-4368-b9f1-c6e5f3910d48" providerId="ADAL" clId="{3E51CB64-41DE-4E99-AA61-015D66A9A29C}" dt="2025-09-11T05:53:00.161" v="10968"/>
        <pc:sldMkLst>
          <pc:docMk/>
          <pc:sldMk cId="666515498" sldId="583"/>
        </pc:sldMkLst>
        <pc:spChg chg="mod">
          <ac:chgData name="Nivedha N A" userId="48795343-f4b0-4368-b9f1-c6e5f3910d48" providerId="ADAL" clId="{3E51CB64-41DE-4E99-AA61-015D66A9A29C}" dt="2025-09-11T05:53:00.161" v="10968"/>
          <ac:spMkLst>
            <pc:docMk/>
            <pc:sldMk cId="666515498" sldId="583"/>
            <ac:spMk id="2" creationId="{805EA043-A34B-4FED-BA0C-D5369501B674}"/>
          </ac:spMkLst>
        </pc:spChg>
      </pc:sldChg>
      <pc:sldChg chg="addSp modSp add">
        <pc:chgData name="Nivedha N A" userId="48795343-f4b0-4368-b9f1-c6e5f3910d48" providerId="ADAL" clId="{3E51CB64-41DE-4E99-AA61-015D66A9A29C}" dt="2025-09-05T07:29:31.896" v="4294" actId="14100"/>
        <pc:sldMkLst>
          <pc:docMk/>
          <pc:sldMk cId="831707057" sldId="584"/>
        </pc:sldMkLst>
        <pc:picChg chg="add mod">
          <ac:chgData name="Nivedha N A" userId="48795343-f4b0-4368-b9f1-c6e5f3910d48" providerId="ADAL" clId="{3E51CB64-41DE-4E99-AA61-015D66A9A29C}" dt="2025-09-05T07:29:31.896" v="4294" actId="14100"/>
          <ac:picMkLst>
            <pc:docMk/>
            <pc:sldMk cId="831707057" sldId="584"/>
            <ac:picMk id="1026" creationId="{C4496BF3-DC05-35BC-A34B-EB1A2652FA96}"/>
          </ac:picMkLst>
        </pc:picChg>
      </pc:sldChg>
      <pc:sldChg chg="modSp add del mod">
        <pc:chgData name="Nivedha N A" userId="48795343-f4b0-4368-b9f1-c6e5f3910d48" providerId="ADAL" clId="{3E51CB64-41DE-4E99-AA61-015D66A9A29C}" dt="2025-09-05T07:46:42.370" v="4309" actId="2696"/>
        <pc:sldMkLst>
          <pc:docMk/>
          <pc:sldMk cId="1600243098" sldId="585"/>
        </pc:sldMkLst>
      </pc:sldChg>
      <pc:sldChg chg="addSp delSp modSp add mod">
        <pc:chgData name="Nivedha N A" userId="48795343-f4b0-4368-b9f1-c6e5f3910d48" providerId="ADAL" clId="{3E51CB64-41DE-4E99-AA61-015D66A9A29C}" dt="2025-09-11T05:53:09.808" v="10969"/>
        <pc:sldMkLst>
          <pc:docMk/>
          <pc:sldMk cId="2028381853" sldId="586"/>
        </pc:sldMkLst>
        <pc:spChg chg="mod">
          <ac:chgData name="Nivedha N A" userId="48795343-f4b0-4368-b9f1-c6e5f3910d48" providerId="ADAL" clId="{3E51CB64-41DE-4E99-AA61-015D66A9A29C}" dt="2025-09-05T07:47:44.633" v="4334" actId="20577"/>
          <ac:spMkLst>
            <pc:docMk/>
            <pc:sldMk cId="2028381853" sldId="586"/>
            <ac:spMk id="3" creationId="{5E736FFB-847D-494E-A90E-A4C6C3E009E2}"/>
          </ac:spMkLst>
        </pc:spChg>
        <pc:spChg chg="mod">
          <ac:chgData name="Nivedha N A" userId="48795343-f4b0-4368-b9f1-c6e5f3910d48" providerId="ADAL" clId="{3E51CB64-41DE-4E99-AA61-015D66A9A29C}" dt="2025-09-11T05:53:09.808" v="10969"/>
          <ac:spMkLst>
            <pc:docMk/>
            <pc:sldMk cId="2028381853" sldId="586"/>
            <ac:spMk id="4" creationId="{9BB9BC4B-B668-4A85-9817-0A2C882AD169}"/>
          </ac:spMkLst>
        </pc:spChg>
        <pc:graphicFrameChg chg="mod modGraphic">
          <ac:chgData name="Nivedha N A" userId="48795343-f4b0-4368-b9f1-c6e5f3910d48" providerId="ADAL" clId="{3E51CB64-41DE-4E99-AA61-015D66A9A29C}" dt="2025-09-05T07:51:09.888" v="4353" actId="20577"/>
          <ac:graphicFrameMkLst>
            <pc:docMk/>
            <pc:sldMk cId="2028381853" sldId="586"/>
            <ac:graphicFrameMk id="9" creationId="{EA7235D3-31C4-1295-C01E-4F62BF842D43}"/>
          </ac:graphicFrameMkLst>
        </pc:graphicFrameChg>
        <pc:picChg chg="add mod">
          <ac:chgData name="Nivedha N A" userId="48795343-f4b0-4368-b9f1-c6e5f3910d48" providerId="ADAL" clId="{3E51CB64-41DE-4E99-AA61-015D66A9A29C}" dt="2025-09-05T08:49:30.559" v="4417" actId="1076"/>
          <ac:picMkLst>
            <pc:docMk/>
            <pc:sldMk cId="2028381853" sldId="586"/>
            <ac:picMk id="24" creationId="{D9358320-EE22-466B-3E0F-9A750EBACFA4}"/>
          </ac:picMkLst>
        </pc:picChg>
        <pc:picChg chg="add mod">
          <ac:chgData name="Nivedha N A" userId="48795343-f4b0-4368-b9f1-c6e5f3910d48" providerId="ADAL" clId="{3E51CB64-41DE-4E99-AA61-015D66A9A29C}" dt="2025-09-05T08:44:51.808" v="4414" actId="14100"/>
          <ac:picMkLst>
            <pc:docMk/>
            <pc:sldMk cId="2028381853" sldId="586"/>
            <ac:picMk id="31" creationId="{96F81561-ADF8-9181-CCEA-5A58A8F54828}"/>
          </ac:picMkLst>
        </pc:picChg>
      </pc:sldChg>
      <pc:sldChg chg="addSp delSp modSp add ord">
        <pc:chgData name="Nivedha N A" userId="48795343-f4b0-4368-b9f1-c6e5f3910d48" providerId="ADAL" clId="{3E51CB64-41DE-4E99-AA61-015D66A9A29C}" dt="2025-09-05T09:16:27.595" v="4449" actId="14100"/>
        <pc:sldMkLst>
          <pc:docMk/>
          <pc:sldMk cId="4154444979" sldId="587"/>
        </pc:sldMkLst>
        <pc:picChg chg="add mod">
          <ac:chgData name="Nivedha N A" userId="48795343-f4b0-4368-b9f1-c6e5f3910d48" providerId="ADAL" clId="{3E51CB64-41DE-4E99-AA61-015D66A9A29C}" dt="2025-09-05T09:16:27.595" v="4449" actId="14100"/>
          <ac:picMkLst>
            <pc:docMk/>
            <pc:sldMk cId="4154444979" sldId="587"/>
            <ac:picMk id="4098" creationId="{FA0F1974-E205-BA6E-647D-6C4E3AC7F65A}"/>
          </ac:picMkLst>
        </pc:picChg>
      </pc:sldChg>
      <pc:sldChg chg="addSp delSp modSp add mod ord">
        <pc:chgData name="Nivedha N A" userId="48795343-f4b0-4368-b9f1-c6e5f3910d48" providerId="ADAL" clId="{3E51CB64-41DE-4E99-AA61-015D66A9A29C}" dt="2025-09-11T07:50:04.640" v="11074" actId="14100"/>
        <pc:sldMkLst>
          <pc:docMk/>
          <pc:sldMk cId="303328133" sldId="588"/>
        </pc:sldMkLst>
        <pc:spChg chg="del">
          <ac:chgData name="Nivedha N A" userId="48795343-f4b0-4368-b9f1-c6e5f3910d48" providerId="ADAL" clId="{3E51CB64-41DE-4E99-AA61-015D66A9A29C}" dt="2025-09-11T05:01:31.133" v="10848" actId="21"/>
          <ac:spMkLst>
            <pc:docMk/>
            <pc:sldMk cId="303328133" sldId="588"/>
            <ac:spMk id="2" creationId="{EDC0427A-C23D-481C-8E1B-1076EC28FDD3}"/>
          </ac:spMkLst>
        </pc:spChg>
        <pc:spChg chg="del">
          <ac:chgData name="Nivedha N A" userId="48795343-f4b0-4368-b9f1-c6e5f3910d48" providerId="ADAL" clId="{3E51CB64-41DE-4E99-AA61-015D66A9A29C}" dt="2025-09-11T05:01:31.133" v="10848" actId="21"/>
          <ac:spMkLst>
            <pc:docMk/>
            <pc:sldMk cId="303328133" sldId="588"/>
            <ac:spMk id="3" creationId="{42C3F69D-D76D-4CFB-AD5F-C2A6D428E3D6}"/>
          </ac:spMkLst>
        </pc:spChg>
        <pc:spChg chg="del mod">
          <ac:chgData name="Nivedha N A" userId="48795343-f4b0-4368-b9f1-c6e5f3910d48" providerId="ADAL" clId="{3E51CB64-41DE-4E99-AA61-015D66A9A29C}" dt="2025-09-11T05:01:31.133" v="10848" actId="21"/>
          <ac:spMkLst>
            <pc:docMk/>
            <pc:sldMk cId="303328133" sldId="588"/>
            <ac:spMk id="5" creationId="{3310CE0A-9AAD-4E7F-A2A7-EF175D65B632}"/>
          </ac:spMkLst>
        </pc:spChg>
        <pc:spChg chg="add del mod">
          <ac:chgData name="Nivedha N A" userId="48795343-f4b0-4368-b9f1-c6e5f3910d48" providerId="ADAL" clId="{3E51CB64-41DE-4E99-AA61-015D66A9A29C}" dt="2025-09-11T05:01:39.894" v="10849" actId="21"/>
          <ac:spMkLst>
            <pc:docMk/>
            <pc:sldMk cId="303328133" sldId="588"/>
            <ac:spMk id="7" creationId="{5263FA9C-F26F-C4EE-2A5A-EA2AE118DF71}"/>
          </ac:spMkLst>
        </pc:spChg>
        <pc:spChg chg="del mod">
          <ac:chgData name="Nivedha N A" userId="48795343-f4b0-4368-b9f1-c6e5f3910d48" providerId="ADAL" clId="{3E51CB64-41DE-4E99-AA61-015D66A9A29C}" dt="2025-09-11T05:01:31.133" v="10848" actId="21"/>
          <ac:spMkLst>
            <pc:docMk/>
            <pc:sldMk cId="303328133" sldId="588"/>
            <ac:spMk id="8" creationId="{B0B1E615-E944-47CD-AC27-55B477280C41}"/>
          </ac:spMkLst>
        </pc:spChg>
        <pc:spChg chg="add del mod">
          <ac:chgData name="Nivedha N A" userId="48795343-f4b0-4368-b9f1-c6e5f3910d48" providerId="ADAL" clId="{3E51CB64-41DE-4E99-AA61-015D66A9A29C}" dt="2025-09-11T05:01:43.368" v="10850" actId="21"/>
          <ac:spMkLst>
            <pc:docMk/>
            <pc:sldMk cId="303328133" sldId="588"/>
            <ac:spMk id="10" creationId="{8A3B928E-EA55-9A20-0FBA-1CB577B5BB21}"/>
          </ac:spMkLst>
        </pc:spChg>
        <pc:spChg chg="add del">
          <ac:chgData name="Nivedha N A" userId="48795343-f4b0-4368-b9f1-c6e5f3910d48" providerId="ADAL" clId="{3E51CB64-41DE-4E99-AA61-015D66A9A29C}" dt="2025-09-11T07:07:17.762" v="11017" actId="22"/>
          <ac:spMkLst>
            <pc:docMk/>
            <pc:sldMk cId="303328133" sldId="588"/>
            <ac:spMk id="12" creationId="{D61A7AE7-24FF-E58B-6035-AB7A714526AD}"/>
          </ac:spMkLst>
        </pc:spChg>
        <pc:spChg chg="add">
          <ac:chgData name="Nivedha N A" userId="48795343-f4b0-4368-b9f1-c6e5f3910d48" providerId="ADAL" clId="{3E51CB64-41DE-4E99-AA61-015D66A9A29C}" dt="2025-09-11T07:41:26.799" v="11028"/>
          <ac:spMkLst>
            <pc:docMk/>
            <pc:sldMk cId="303328133" sldId="588"/>
            <ac:spMk id="13" creationId="{97AB0FAB-3D13-D648-2C47-142FBA5BC905}"/>
          </ac:spMkLst>
        </pc:spChg>
        <pc:spChg chg="add del mod">
          <ac:chgData name="Nivedha N A" userId="48795343-f4b0-4368-b9f1-c6e5f3910d48" providerId="ADAL" clId="{3E51CB64-41DE-4E99-AA61-015D66A9A29C}" dt="2025-09-11T07:42:43.026" v="11033" actId="21"/>
          <ac:spMkLst>
            <pc:docMk/>
            <pc:sldMk cId="303328133" sldId="588"/>
            <ac:spMk id="14" creationId="{A3814A0F-B154-3C92-B7DA-1E83C317B09F}"/>
          </ac:spMkLst>
        </pc:spChg>
        <pc:spChg chg="add del mod">
          <ac:chgData name="Nivedha N A" userId="48795343-f4b0-4368-b9f1-c6e5f3910d48" providerId="ADAL" clId="{3E51CB64-41DE-4E99-AA61-015D66A9A29C}" dt="2025-09-11T07:42:49.193" v="11035" actId="21"/>
          <ac:spMkLst>
            <pc:docMk/>
            <pc:sldMk cId="303328133" sldId="588"/>
            <ac:spMk id="15" creationId="{A3814A0F-B154-3C92-B7DA-1E83C317B09F}"/>
          </ac:spMkLst>
        </pc:spChg>
        <pc:spChg chg="add mod">
          <ac:chgData name="Nivedha N A" userId="48795343-f4b0-4368-b9f1-c6e5f3910d48" providerId="ADAL" clId="{3E51CB64-41DE-4E99-AA61-015D66A9A29C}" dt="2025-09-11T07:50:04.640" v="11074" actId="14100"/>
          <ac:spMkLst>
            <pc:docMk/>
            <pc:sldMk cId="303328133" sldId="588"/>
            <ac:spMk id="17" creationId="{A6D1FCA1-06A3-FBB8-0911-B11C5D3C7746}"/>
          </ac:spMkLst>
        </pc:spChg>
        <pc:picChg chg="add del mod">
          <ac:chgData name="Nivedha N A" userId="48795343-f4b0-4368-b9f1-c6e5f3910d48" providerId="ADAL" clId="{3E51CB64-41DE-4E99-AA61-015D66A9A29C}" dt="2025-09-11T07:42:49.193" v="11035" actId="21"/>
          <ac:picMkLst>
            <pc:docMk/>
            <pc:sldMk cId="303328133" sldId="588"/>
            <ac:picMk id="16" creationId="{CAF9E10B-2AC9-C1F8-1009-7FB068C50A9B}"/>
          </ac:picMkLst>
        </pc:picChg>
        <pc:picChg chg="add del mod">
          <ac:chgData name="Nivedha N A" userId="48795343-f4b0-4368-b9f1-c6e5f3910d48" providerId="ADAL" clId="{3E51CB64-41DE-4E99-AA61-015D66A9A29C}" dt="2025-09-11T07:41:35.241" v="11030" actId="21"/>
          <ac:picMkLst>
            <pc:docMk/>
            <pc:sldMk cId="303328133" sldId="588"/>
            <ac:picMk id="1026" creationId="{6137F055-B2BD-8E82-AD8B-5340F204F041}"/>
          </ac:picMkLst>
        </pc:picChg>
        <pc:picChg chg="add del mod">
          <ac:chgData name="Nivedha N A" userId="48795343-f4b0-4368-b9f1-c6e5f3910d48" providerId="ADAL" clId="{3E51CB64-41DE-4E99-AA61-015D66A9A29C}" dt="2025-09-11T07:41:31.642" v="11029" actId="21"/>
          <ac:picMkLst>
            <pc:docMk/>
            <pc:sldMk cId="303328133" sldId="588"/>
            <ac:picMk id="1028" creationId="{05A1CB02-BFFF-C2CD-1A9A-D2081A22E021}"/>
          </ac:picMkLst>
        </pc:picChg>
        <pc:picChg chg="add del">
          <ac:chgData name="Nivedha N A" userId="48795343-f4b0-4368-b9f1-c6e5f3910d48" providerId="ADAL" clId="{3E51CB64-41DE-4E99-AA61-015D66A9A29C}" dt="2025-09-11T07:42:43.026" v="11033" actId="21"/>
          <ac:picMkLst>
            <pc:docMk/>
            <pc:sldMk cId="303328133" sldId="588"/>
            <ac:picMk id="1034" creationId="{CAF9E10B-2AC9-C1F8-1009-7FB068C50A9B}"/>
          </ac:picMkLst>
        </pc:picChg>
        <pc:picChg chg="add del mod">
          <ac:chgData name="Nivedha N A" userId="48795343-f4b0-4368-b9f1-c6e5f3910d48" providerId="ADAL" clId="{3E51CB64-41DE-4E99-AA61-015D66A9A29C}" dt="2025-09-11T07:45:57.564" v="11051" actId="21"/>
          <ac:picMkLst>
            <pc:docMk/>
            <pc:sldMk cId="303328133" sldId="588"/>
            <ac:picMk id="1036" creationId="{3848E7B6-CAB7-CA2D-9381-E3C811713E91}"/>
          </ac:picMkLst>
        </pc:picChg>
        <pc:picChg chg="add del">
          <ac:chgData name="Nivedha N A" userId="48795343-f4b0-4368-b9f1-c6e5f3910d48" providerId="ADAL" clId="{3E51CB64-41DE-4E99-AA61-015D66A9A29C}" dt="2025-09-11T07:45:57.564" v="11051" actId="21"/>
          <ac:picMkLst>
            <pc:docMk/>
            <pc:sldMk cId="303328133" sldId="588"/>
            <ac:picMk id="1038" creationId="{D6829B4C-3D48-2FEE-7D0A-A64799655821}"/>
          </ac:picMkLst>
        </pc:picChg>
        <pc:picChg chg="add del mod">
          <ac:chgData name="Nivedha N A" userId="48795343-f4b0-4368-b9f1-c6e5f3910d48" providerId="ADAL" clId="{3E51CB64-41DE-4E99-AA61-015D66A9A29C}" dt="2025-09-11T07:46:28.224" v="11056" actId="21"/>
          <ac:picMkLst>
            <pc:docMk/>
            <pc:sldMk cId="303328133" sldId="588"/>
            <ac:picMk id="1040" creationId="{3EBD444E-C143-39F9-DBC8-066EA32217D7}"/>
          </ac:picMkLst>
        </pc:picChg>
        <pc:picChg chg="add mod">
          <ac:chgData name="Nivedha N A" userId="48795343-f4b0-4368-b9f1-c6e5f3910d48" providerId="ADAL" clId="{3E51CB64-41DE-4E99-AA61-015D66A9A29C}" dt="2025-09-11T07:49:39.176" v="11071" actId="14100"/>
          <ac:picMkLst>
            <pc:docMk/>
            <pc:sldMk cId="303328133" sldId="588"/>
            <ac:picMk id="1042" creationId="{8E8FEB27-20D8-F262-1D02-9D9C242F279B}"/>
          </ac:picMkLst>
        </pc:picChg>
      </pc:sldChg>
      <pc:sldChg chg="addSp delSp modSp add del">
        <pc:chgData name="Nivedha N A" userId="48795343-f4b0-4368-b9f1-c6e5f3910d48" providerId="ADAL" clId="{3E51CB64-41DE-4E99-AA61-015D66A9A29C}" dt="2025-09-10T13:41:47.308" v="10783" actId="2696"/>
        <pc:sldMkLst>
          <pc:docMk/>
          <pc:sldMk cId="3982542547" sldId="589"/>
        </pc:sldMkLst>
        <pc:spChg chg="add mod">
          <ac:chgData name="Nivedha N A" userId="48795343-f4b0-4368-b9f1-c6e5f3910d48" providerId="ADAL" clId="{3E51CB64-41DE-4E99-AA61-015D66A9A29C}" dt="2025-09-10T13:40:41.910" v="10774" actId="21"/>
          <ac:spMkLst>
            <pc:docMk/>
            <pc:sldMk cId="3982542547" sldId="589"/>
            <ac:spMk id="5" creationId="{38557655-17A3-7061-F445-F120180B77F0}"/>
          </ac:spMkLst>
        </pc:spChg>
        <pc:picChg chg="add mod">
          <ac:chgData name="Nivedha N A" userId="48795343-f4b0-4368-b9f1-c6e5f3910d48" providerId="ADAL" clId="{3E51CB64-41DE-4E99-AA61-015D66A9A29C}" dt="2025-09-10T13:41:25.367" v="10779" actId="14100"/>
          <ac:picMkLst>
            <pc:docMk/>
            <pc:sldMk cId="3982542547" sldId="589"/>
            <ac:picMk id="1026" creationId="{E524A66A-BABD-E840-FBA4-7097C467FB43}"/>
          </ac:picMkLst>
        </pc:picChg>
        <pc:picChg chg="add del mod">
          <ac:chgData name="Nivedha N A" userId="48795343-f4b0-4368-b9f1-c6e5f3910d48" providerId="ADAL" clId="{3E51CB64-41DE-4E99-AA61-015D66A9A29C}" dt="2025-09-10T13:40:41.910" v="10774" actId="21"/>
          <ac:picMkLst>
            <pc:docMk/>
            <pc:sldMk cId="3982542547" sldId="589"/>
            <ac:picMk id="5122" creationId="{AB2A85DA-FEBF-620C-6489-F8BFCD2239FB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10T13:42:45.166" v="10797" actId="27636"/>
        <pc:sldMkLst>
          <pc:docMk/>
          <pc:sldMk cId="2179899064" sldId="590"/>
        </pc:sldMkLst>
        <pc:spChg chg="mod">
          <ac:chgData name="Nivedha N A" userId="48795343-f4b0-4368-b9f1-c6e5f3910d48" providerId="ADAL" clId="{3E51CB64-41DE-4E99-AA61-015D66A9A29C}" dt="2025-09-10T13:42:45.166" v="10797" actId="27636"/>
          <ac:spMkLst>
            <pc:docMk/>
            <pc:sldMk cId="2179899064" sldId="590"/>
            <ac:spMk id="2" creationId="{2C46C735-6399-870B-E51C-B57CB842B1B3}"/>
          </ac:spMkLst>
        </pc:spChg>
        <pc:picChg chg="add mod">
          <ac:chgData name="Nivedha N A" userId="48795343-f4b0-4368-b9f1-c6e5f3910d48" providerId="ADAL" clId="{3E51CB64-41DE-4E99-AA61-015D66A9A29C}" dt="2025-09-10T13:42:16.019" v="10788" actId="1076"/>
          <ac:picMkLst>
            <pc:docMk/>
            <pc:sldMk cId="2179899064" sldId="590"/>
            <ac:picMk id="5" creationId="{503E1310-F003-B421-B38A-694F4F381D77}"/>
          </ac:picMkLst>
        </pc:picChg>
        <pc:picChg chg="add del mod">
          <ac:chgData name="Nivedha N A" userId="48795343-f4b0-4368-b9f1-c6e5f3910d48" providerId="ADAL" clId="{3E51CB64-41DE-4E99-AA61-015D66A9A29C}" dt="2025-09-10T13:41:37.783" v="10781" actId="21"/>
          <ac:picMkLst>
            <pc:docMk/>
            <pc:sldMk cId="2179899064" sldId="590"/>
            <ac:picMk id="6146" creationId="{A11F5484-E62E-0CB7-13A8-5839B6E2048F}"/>
          </ac:picMkLst>
        </pc:picChg>
      </pc:sldChg>
      <pc:sldChg chg="addSp delSp modSp add mod ord modClrScheme chgLayout">
        <pc:chgData name="Nivedha N A" userId="48795343-f4b0-4368-b9f1-c6e5f3910d48" providerId="ADAL" clId="{3E51CB64-41DE-4E99-AA61-015D66A9A29C}" dt="2025-09-06T09:26:30.128" v="4781" actId="1076"/>
        <pc:sldMkLst>
          <pc:docMk/>
          <pc:sldMk cId="1621579340" sldId="591"/>
        </pc:sldMkLst>
        <pc:spChg chg="mod ord">
          <ac:chgData name="Nivedha N A" userId="48795343-f4b0-4368-b9f1-c6e5f3910d48" providerId="ADAL" clId="{3E51CB64-41DE-4E99-AA61-015D66A9A29C}" dt="2025-09-05T11:16:25.331" v="4566" actId="20577"/>
          <ac:spMkLst>
            <pc:docMk/>
            <pc:sldMk cId="1621579340" sldId="591"/>
            <ac:spMk id="2" creationId="{10B729AC-B863-11E0-8EBD-BF33B82CC8E4}"/>
          </ac:spMkLst>
        </pc:spChg>
        <pc:spChg chg="mod">
          <ac:chgData name="Nivedha N A" userId="48795343-f4b0-4368-b9f1-c6e5f3910d48" providerId="ADAL" clId="{3E51CB64-41DE-4E99-AA61-015D66A9A29C}" dt="2025-09-05T11:15:42.136" v="4550" actId="26606"/>
          <ac:spMkLst>
            <pc:docMk/>
            <pc:sldMk cId="1621579340" sldId="591"/>
            <ac:spMk id="3" creationId="{629FF964-BE51-75E5-F7D6-CF73C7FEA124}"/>
          </ac:spMkLst>
        </pc:spChg>
        <pc:spChg chg="mod">
          <ac:chgData name="Nivedha N A" userId="48795343-f4b0-4368-b9f1-c6e5f3910d48" providerId="ADAL" clId="{3E51CB64-41DE-4E99-AA61-015D66A9A29C}" dt="2025-09-05T11:15:42.136" v="4550" actId="26606"/>
          <ac:spMkLst>
            <pc:docMk/>
            <pc:sldMk cId="1621579340" sldId="591"/>
            <ac:spMk id="4" creationId="{6427A64A-0293-951F-E671-C25A65EAEC1C}"/>
          </ac:spMkLst>
        </pc:spChg>
        <pc:spChg chg="add mod">
          <ac:chgData name="Nivedha N A" userId="48795343-f4b0-4368-b9f1-c6e5f3910d48" providerId="ADAL" clId="{3E51CB64-41DE-4E99-AA61-015D66A9A29C}" dt="2025-09-05T11:59:01.242" v="4642" actId="1076"/>
          <ac:spMkLst>
            <pc:docMk/>
            <pc:sldMk cId="1621579340" sldId="591"/>
            <ac:spMk id="5" creationId="{70EEE49D-7603-2AF2-4A01-B5F86DEEC8CE}"/>
          </ac:spMkLst>
        </pc:spChg>
        <pc:picChg chg="add mod">
          <ac:chgData name="Nivedha N A" userId="48795343-f4b0-4368-b9f1-c6e5f3910d48" providerId="ADAL" clId="{3E51CB64-41DE-4E99-AA61-015D66A9A29C}" dt="2025-09-06T09:26:30.128" v="4781" actId="1076"/>
          <ac:picMkLst>
            <pc:docMk/>
            <pc:sldMk cId="1621579340" sldId="591"/>
            <ac:picMk id="7" creationId="{08227C1D-E28C-004F-F223-3E04224908CB}"/>
          </ac:picMkLst>
        </pc:picChg>
      </pc:sldChg>
      <pc:sldChg chg="addSp delSp modSp add">
        <pc:chgData name="Nivedha N A" userId="48795343-f4b0-4368-b9f1-c6e5f3910d48" providerId="ADAL" clId="{3E51CB64-41DE-4E99-AA61-015D66A9A29C}" dt="2025-09-05T12:33:03.883" v="4657"/>
        <pc:sldMkLst>
          <pc:docMk/>
          <pc:sldMk cId="2489306746" sldId="592"/>
        </pc:sldMkLst>
        <pc:picChg chg="add mod">
          <ac:chgData name="Nivedha N A" userId="48795343-f4b0-4368-b9f1-c6e5f3910d48" providerId="ADAL" clId="{3E51CB64-41DE-4E99-AA61-015D66A9A29C}" dt="2025-09-05T11:55:22.157" v="4569"/>
          <ac:picMkLst>
            <pc:docMk/>
            <pc:sldMk cId="2489306746" sldId="592"/>
            <ac:picMk id="8194" creationId="{7485243C-9C1E-8441-B5C0-09430CF36AC1}"/>
          </ac:picMkLst>
        </pc:picChg>
      </pc:sldChg>
      <pc:sldChg chg="addSp delSp modSp add del">
        <pc:chgData name="Nivedha N A" userId="48795343-f4b0-4368-b9f1-c6e5f3910d48" providerId="ADAL" clId="{3E51CB64-41DE-4E99-AA61-015D66A9A29C}" dt="2025-09-05T12:30:53.145" v="4650" actId="2696"/>
        <pc:sldMkLst>
          <pc:docMk/>
          <pc:sldMk cId="1895246347" sldId="593"/>
        </pc:sldMkLst>
      </pc:sldChg>
      <pc:sldChg chg="addSp delSp modSp add mod">
        <pc:chgData name="Nivedha N A" userId="48795343-f4b0-4368-b9f1-c6e5f3910d48" providerId="ADAL" clId="{3E51CB64-41DE-4E99-AA61-015D66A9A29C}" dt="2025-09-05T13:10:11.159" v="4771" actId="14100"/>
        <pc:sldMkLst>
          <pc:docMk/>
          <pc:sldMk cId="2464543451" sldId="593"/>
        </pc:sldMkLst>
        <pc:spChg chg="add mod">
          <ac:chgData name="Nivedha N A" userId="48795343-f4b0-4368-b9f1-c6e5f3910d48" providerId="ADAL" clId="{3E51CB64-41DE-4E99-AA61-015D66A9A29C}" dt="2025-09-05T13:10:11.159" v="4771" actId="14100"/>
          <ac:spMkLst>
            <pc:docMk/>
            <pc:sldMk cId="2464543451" sldId="593"/>
            <ac:spMk id="11" creationId="{DAE1D874-96D5-9DE4-9259-A5C02E8BAD48}"/>
          </ac:spMkLst>
        </pc:spChg>
        <pc:picChg chg="add del mod">
          <ac:chgData name="Nivedha N A" userId="48795343-f4b0-4368-b9f1-c6e5f3910d48" providerId="ADAL" clId="{3E51CB64-41DE-4E99-AA61-015D66A9A29C}" dt="2025-09-05T13:04:31.947" v="4748" actId="14100"/>
          <ac:picMkLst>
            <pc:docMk/>
            <pc:sldMk cId="2464543451" sldId="593"/>
            <ac:picMk id="10250" creationId="{8E0C881F-0540-B00C-491B-28DCC816C50D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5T13:10:47.415" v="4774" actId="21"/>
        <pc:sldMkLst>
          <pc:docMk/>
          <pc:sldMk cId="1415945064" sldId="594"/>
        </pc:sldMkLst>
        <pc:spChg chg="mod ord">
          <ac:chgData name="Nivedha N A" userId="48795343-f4b0-4368-b9f1-c6e5f3910d48" providerId="ADAL" clId="{3E51CB64-41DE-4E99-AA61-015D66A9A29C}" dt="2025-09-05T13:03:02.520" v="4741" actId="26606"/>
          <ac:spMkLst>
            <pc:docMk/>
            <pc:sldMk cId="1415945064" sldId="594"/>
            <ac:spMk id="2" creationId="{625EFD9D-CF12-4918-45DF-24DD5B752F2A}"/>
          </ac:spMkLst>
        </pc:spChg>
        <pc:spChg chg="mod ord">
          <ac:chgData name="Nivedha N A" userId="48795343-f4b0-4368-b9f1-c6e5f3910d48" providerId="ADAL" clId="{3E51CB64-41DE-4E99-AA61-015D66A9A29C}" dt="2025-09-05T13:03:02.520" v="4741" actId="26606"/>
          <ac:spMkLst>
            <pc:docMk/>
            <pc:sldMk cId="1415945064" sldId="594"/>
            <ac:spMk id="3" creationId="{78D22267-20E9-CDE2-BF46-27C8CF0D0EDE}"/>
          </ac:spMkLst>
        </pc:spChg>
        <pc:spChg chg="mod">
          <ac:chgData name="Nivedha N A" userId="48795343-f4b0-4368-b9f1-c6e5f3910d48" providerId="ADAL" clId="{3E51CB64-41DE-4E99-AA61-015D66A9A29C}" dt="2025-09-05T13:03:02.520" v="4741" actId="26606"/>
          <ac:spMkLst>
            <pc:docMk/>
            <pc:sldMk cId="1415945064" sldId="594"/>
            <ac:spMk id="4" creationId="{13AD53CF-6D51-3572-40F9-0B21B19FBED1}"/>
          </ac:spMkLst>
        </pc:spChg>
        <pc:picChg chg="add mod ord">
          <ac:chgData name="Nivedha N A" userId="48795343-f4b0-4368-b9f1-c6e5f3910d48" providerId="ADAL" clId="{3E51CB64-41DE-4E99-AA61-015D66A9A29C}" dt="2025-09-05T13:10:38.520" v="4772" actId="732"/>
          <ac:picMkLst>
            <pc:docMk/>
            <pc:sldMk cId="1415945064" sldId="594"/>
            <ac:picMk id="11268" creationId="{2E8642B9-9F35-1DF9-A489-6FB145B9FF65}"/>
          </ac:picMkLst>
        </pc:picChg>
      </pc:sldChg>
      <pc:sldChg chg="modSp add mod">
        <pc:chgData name="Nivedha N A" userId="48795343-f4b0-4368-b9f1-c6e5f3910d48" providerId="ADAL" clId="{3E51CB64-41DE-4E99-AA61-015D66A9A29C}" dt="2025-09-08T09:26:18.819" v="7989" actId="20577"/>
        <pc:sldMkLst>
          <pc:docMk/>
          <pc:sldMk cId="1712712960" sldId="595"/>
        </pc:sldMkLst>
        <pc:spChg chg="mod">
          <ac:chgData name="Nivedha N A" userId="48795343-f4b0-4368-b9f1-c6e5f3910d48" providerId="ADAL" clId="{3E51CB64-41DE-4E99-AA61-015D66A9A29C}" dt="2025-09-06T10:18:51.154" v="5098" actId="20577"/>
          <ac:spMkLst>
            <pc:docMk/>
            <pc:sldMk cId="1712712960" sldId="595"/>
            <ac:spMk id="2" creationId="{C1F3D4AC-4404-7AA3-DA9F-448E18BFF4E4}"/>
          </ac:spMkLst>
        </pc:spChg>
        <pc:spChg chg="mod">
          <ac:chgData name="Nivedha N A" userId="48795343-f4b0-4368-b9f1-c6e5f3910d48" providerId="ADAL" clId="{3E51CB64-41DE-4E99-AA61-015D66A9A29C}" dt="2025-09-08T09:26:18.819" v="7989" actId="20577"/>
          <ac:spMkLst>
            <pc:docMk/>
            <pc:sldMk cId="1712712960" sldId="595"/>
            <ac:spMk id="11" creationId="{00736E14-1CF2-EC1A-F13A-8FEFA971C93D}"/>
          </ac:spMkLst>
        </pc:spChg>
      </pc:sldChg>
      <pc:sldChg chg="addSp modSp add mod">
        <pc:chgData name="Nivedha N A" userId="48795343-f4b0-4368-b9f1-c6e5f3910d48" providerId="ADAL" clId="{3E51CB64-41DE-4E99-AA61-015D66A9A29C}" dt="2025-09-10T12:46:49.541" v="10340" actId="207"/>
        <pc:sldMkLst>
          <pc:docMk/>
          <pc:sldMk cId="3218419673" sldId="596"/>
        </pc:sldMkLst>
        <pc:spChg chg="mod">
          <ac:chgData name="Nivedha N A" userId="48795343-f4b0-4368-b9f1-c6e5f3910d48" providerId="ADAL" clId="{3E51CB64-41DE-4E99-AA61-015D66A9A29C}" dt="2025-09-10T11:11:00.294" v="9731" actId="20577"/>
          <ac:spMkLst>
            <pc:docMk/>
            <pc:sldMk cId="3218419673" sldId="596"/>
            <ac:spMk id="2" creationId="{7E275209-6FFB-0810-40BE-818CAADDB049}"/>
          </ac:spMkLst>
        </pc:spChg>
        <pc:spChg chg="add mod">
          <ac:chgData name="Nivedha N A" userId="48795343-f4b0-4368-b9f1-c6e5f3910d48" providerId="ADAL" clId="{3E51CB64-41DE-4E99-AA61-015D66A9A29C}" dt="2025-09-10T12:46:49.541" v="10340" actId="207"/>
          <ac:spMkLst>
            <pc:docMk/>
            <pc:sldMk cId="3218419673" sldId="596"/>
            <ac:spMk id="5" creationId="{D4A97E0F-8FD1-5D93-61AD-0B9296AAAC05}"/>
          </ac:spMkLst>
        </pc:spChg>
        <pc:spChg chg="mod">
          <ac:chgData name="Nivedha N A" userId="48795343-f4b0-4368-b9f1-c6e5f3910d48" providerId="ADAL" clId="{3E51CB64-41DE-4E99-AA61-015D66A9A29C}" dt="2025-09-10T11:11:41.778" v="9877" actId="20577"/>
          <ac:spMkLst>
            <pc:docMk/>
            <pc:sldMk cId="3218419673" sldId="596"/>
            <ac:spMk id="11" creationId="{8B6A2A58-3128-8E58-9400-3ED174707EE3}"/>
          </ac:spMkLst>
        </pc:spChg>
      </pc:sldChg>
      <pc:sldChg chg="modSp add mod">
        <pc:chgData name="Nivedha N A" userId="48795343-f4b0-4368-b9f1-c6e5f3910d48" providerId="ADAL" clId="{3E51CB64-41DE-4E99-AA61-015D66A9A29C}" dt="2025-09-11T05:53:51.133" v="10973"/>
        <pc:sldMkLst>
          <pc:docMk/>
          <pc:sldMk cId="1174757456" sldId="597"/>
        </pc:sldMkLst>
        <pc:spChg chg="mod">
          <ac:chgData name="Nivedha N A" userId="48795343-f4b0-4368-b9f1-c6e5f3910d48" providerId="ADAL" clId="{3E51CB64-41DE-4E99-AA61-015D66A9A29C}" dt="2025-09-11T05:53:51.133" v="10973"/>
          <ac:spMkLst>
            <pc:docMk/>
            <pc:sldMk cId="1174757456" sldId="597"/>
            <ac:spMk id="3" creationId="{641EE4D4-CD43-D012-4C9F-EB8DD477E524}"/>
          </ac:spMkLst>
        </pc:spChg>
        <pc:spChg chg="mod">
          <ac:chgData name="Nivedha N A" userId="48795343-f4b0-4368-b9f1-c6e5f3910d48" providerId="ADAL" clId="{3E51CB64-41DE-4E99-AA61-015D66A9A29C}" dt="2025-09-06T14:19:01.949" v="5855" actId="20577"/>
          <ac:spMkLst>
            <pc:docMk/>
            <pc:sldMk cId="1174757456" sldId="597"/>
            <ac:spMk id="4" creationId="{846E1523-AB09-6BDE-8F2B-4FFC3D750784}"/>
          </ac:spMkLst>
        </pc:spChg>
      </pc:sldChg>
      <pc:sldChg chg="add del">
        <pc:chgData name="Nivedha N A" userId="48795343-f4b0-4368-b9f1-c6e5f3910d48" providerId="ADAL" clId="{3E51CB64-41DE-4E99-AA61-015D66A9A29C}" dt="2025-09-07T06:28:05.400" v="6511" actId="2696"/>
        <pc:sldMkLst>
          <pc:docMk/>
          <pc:sldMk cId="3507740730" sldId="598"/>
        </pc:sldMkLst>
      </pc:sldChg>
      <pc:sldChg chg="addSp delSp modSp add ord">
        <pc:chgData name="Nivedha N A" userId="48795343-f4b0-4368-b9f1-c6e5f3910d48" providerId="ADAL" clId="{3E51CB64-41DE-4E99-AA61-015D66A9A29C}" dt="2025-09-10T11:45:17.655" v="10089"/>
        <pc:sldMkLst>
          <pc:docMk/>
          <pc:sldMk cId="1185368465" sldId="599"/>
        </pc:sldMkLst>
        <pc:spChg chg="add mod">
          <ac:chgData name="Nivedha N A" userId="48795343-f4b0-4368-b9f1-c6e5f3910d48" providerId="ADAL" clId="{3E51CB64-41DE-4E99-AA61-015D66A9A29C}" dt="2025-09-06T15:30:22.132" v="5858" actId="21"/>
          <ac:spMkLst>
            <pc:docMk/>
            <pc:sldMk cId="1185368465" sldId="599"/>
            <ac:spMk id="5" creationId="{4C2647D0-4315-84B0-857E-DF67CC27397E}"/>
          </ac:spMkLst>
        </pc:spChg>
        <pc:picChg chg="add mod">
          <ac:chgData name="Nivedha N A" userId="48795343-f4b0-4368-b9f1-c6e5f3910d48" providerId="ADAL" clId="{3E51CB64-41DE-4E99-AA61-015D66A9A29C}" dt="2025-09-06T15:30:38.403" v="5861" actId="14100"/>
          <ac:picMkLst>
            <pc:docMk/>
            <pc:sldMk cId="1185368465" sldId="599"/>
            <ac:picMk id="12290" creationId="{79A8B4A0-4E5E-6242-3226-B2E36930EFE3}"/>
          </ac:picMkLst>
        </pc:picChg>
      </pc:sldChg>
      <pc:sldChg chg="addSp delSp modSp add del">
        <pc:chgData name="Nivedha N A" userId="48795343-f4b0-4368-b9f1-c6e5f3910d48" providerId="ADAL" clId="{3E51CB64-41DE-4E99-AA61-015D66A9A29C}" dt="2025-09-06T15:54:42.539" v="5867" actId="2890"/>
        <pc:sldMkLst>
          <pc:docMk/>
          <pc:sldMk cId="1061449306" sldId="600"/>
        </pc:sldMkLst>
      </pc:sldChg>
      <pc:sldChg chg="addSp delSp modSp add del mod">
        <pc:chgData name="Nivedha N A" userId="48795343-f4b0-4368-b9f1-c6e5f3910d48" providerId="ADAL" clId="{3E51CB64-41DE-4E99-AA61-015D66A9A29C}" dt="2025-09-06T16:02:00.674" v="5880" actId="2696"/>
        <pc:sldMkLst>
          <pc:docMk/>
          <pc:sldMk cId="4029110047" sldId="600"/>
        </pc:sldMkLst>
      </pc:sldChg>
      <pc:sldChg chg="addSp delSp modSp add mod ord">
        <pc:chgData name="Nivedha N A" userId="48795343-f4b0-4368-b9f1-c6e5f3910d48" providerId="ADAL" clId="{3E51CB64-41DE-4E99-AA61-015D66A9A29C}" dt="2025-09-06T16:02:05.131" v="5882"/>
        <pc:sldMkLst>
          <pc:docMk/>
          <pc:sldMk cId="748272512" sldId="601"/>
        </pc:sldMkLst>
        <pc:spChg chg="add mod">
          <ac:chgData name="Nivedha N A" userId="48795343-f4b0-4368-b9f1-c6e5f3910d48" providerId="ADAL" clId="{3E51CB64-41DE-4E99-AA61-015D66A9A29C}" dt="2025-09-06T16:01:25.091" v="5872" actId="21"/>
          <ac:spMkLst>
            <pc:docMk/>
            <pc:sldMk cId="748272512" sldId="601"/>
            <ac:spMk id="5" creationId="{66C3E4B5-7FD4-DFA7-87EC-0F616F0AAAB4}"/>
          </ac:spMkLst>
        </pc:spChg>
        <pc:picChg chg="add mod">
          <ac:chgData name="Nivedha N A" userId="48795343-f4b0-4368-b9f1-c6e5f3910d48" providerId="ADAL" clId="{3E51CB64-41DE-4E99-AA61-015D66A9A29C}" dt="2025-09-06T16:01:48.936" v="5879" actId="14100"/>
          <ac:picMkLst>
            <pc:docMk/>
            <pc:sldMk cId="748272512" sldId="601"/>
            <ac:picMk id="7" creationId="{3F7402E1-1A7B-D494-08B6-A877DE07BC89}"/>
          </ac:picMkLst>
        </pc:picChg>
      </pc:sldChg>
      <pc:sldChg chg="addSp modSp add mod ord">
        <pc:chgData name="Nivedha N A" userId="48795343-f4b0-4368-b9f1-c6e5f3910d48" providerId="ADAL" clId="{3E51CB64-41DE-4E99-AA61-015D66A9A29C}" dt="2025-09-11T05:53:55.496" v="10974"/>
        <pc:sldMkLst>
          <pc:docMk/>
          <pc:sldMk cId="2275789021" sldId="602"/>
        </pc:sldMkLst>
        <pc:spChg chg="mod">
          <ac:chgData name="Nivedha N A" userId="48795343-f4b0-4368-b9f1-c6e5f3910d48" providerId="ADAL" clId="{3E51CB64-41DE-4E99-AA61-015D66A9A29C}" dt="2025-09-11T05:53:55.496" v="10974"/>
          <ac:spMkLst>
            <pc:docMk/>
            <pc:sldMk cId="2275789021" sldId="602"/>
            <ac:spMk id="3" creationId="{7F16E2CD-D630-8F6D-1725-484F10F4D12B}"/>
          </ac:spMkLst>
        </pc:spChg>
        <pc:spChg chg="mod">
          <ac:chgData name="Nivedha N A" userId="48795343-f4b0-4368-b9f1-c6e5f3910d48" providerId="ADAL" clId="{3E51CB64-41DE-4E99-AA61-015D66A9A29C}" dt="2025-09-07T03:36:10.702" v="5941"/>
          <ac:spMkLst>
            <pc:docMk/>
            <pc:sldMk cId="2275789021" sldId="602"/>
            <ac:spMk id="5" creationId="{70B1B3EB-D95D-2C7B-D0D4-DDDD2AC26BC5}"/>
          </ac:spMkLst>
        </pc:spChg>
        <pc:spChg chg="mod">
          <ac:chgData name="Nivedha N A" userId="48795343-f4b0-4368-b9f1-c6e5f3910d48" providerId="ADAL" clId="{3E51CB64-41DE-4E99-AA61-015D66A9A29C}" dt="2025-09-07T04:13:47.956" v="6127" actId="20577"/>
          <ac:spMkLst>
            <pc:docMk/>
            <pc:sldMk cId="2275789021" sldId="602"/>
            <ac:spMk id="8" creationId="{506A05B3-6CC8-1F13-C91B-6041B905E782}"/>
          </ac:spMkLst>
        </pc:spChg>
      </pc:sldChg>
      <pc:sldChg chg="addSp delSp modSp add mod ord">
        <pc:chgData name="Nivedha N A" userId="48795343-f4b0-4368-b9f1-c6e5f3910d48" providerId="ADAL" clId="{3E51CB64-41DE-4E99-AA61-015D66A9A29C}" dt="2025-09-07T04:17:29.478" v="6151"/>
        <pc:sldMkLst>
          <pc:docMk/>
          <pc:sldMk cId="3328666860" sldId="603"/>
        </pc:sldMkLst>
        <pc:picChg chg="add del mod">
          <ac:chgData name="Nivedha N A" userId="48795343-f4b0-4368-b9f1-c6e5f3910d48" providerId="ADAL" clId="{3E51CB64-41DE-4E99-AA61-015D66A9A29C}" dt="2025-09-07T04:17:12.609" v="6149" actId="14100"/>
          <ac:picMkLst>
            <pc:docMk/>
            <pc:sldMk cId="3328666860" sldId="603"/>
            <ac:picMk id="15362" creationId="{9DA08A23-558F-DF04-D777-E2B015A913CA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7T06:05:11.324" v="6430" actId="2696"/>
        <pc:sldMkLst>
          <pc:docMk/>
          <pc:sldMk cId="597098713" sldId="604"/>
        </pc:sldMkLst>
      </pc:sldChg>
      <pc:sldChg chg="addSp modSp add del mod">
        <pc:chgData name="Nivedha N A" userId="48795343-f4b0-4368-b9f1-c6e5f3910d48" providerId="ADAL" clId="{3E51CB64-41DE-4E99-AA61-015D66A9A29C}" dt="2025-09-07T06:08:03.980" v="6457" actId="2696"/>
        <pc:sldMkLst>
          <pc:docMk/>
          <pc:sldMk cId="3250454880" sldId="605"/>
        </pc:sldMkLst>
      </pc:sldChg>
      <pc:sldChg chg="addSp delSp modSp add mod">
        <pc:chgData name="Nivedha N A" userId="48795343-f4b0-4368-b9f1-c6e5f3910d48" providerId="ADAL" clId="{3E51CB64-41DE-4E99-AA61-015D66A9A29C}" dt="2025-09-07T06:07:46.058" v="6456" actId="20577"/>
        <pc:sldMkLst>
          <pc:docMk/>
          <pc:sldMk cId="1213524462" sldId="606"/>
        </pc:sldMkLst>
        <pc:spChg chg="mod">
          <ac:chgData name="Nivedha N A" userId="48795343-f4b0-4368-b9f1-c6e5f3910d48" providerId="ADAL" clId="{3E51CB64-41DE-4E99-AA61-015D66A9A29C}" dt="2025-09-07T06:07:46.058" v="6456" actId="20577"/>
          <ac:spMkLst>
            <pc:docMk/>
            <pc:sldMk cId="1213524462" sldId="606"/>
            <ac:spMk id="2" creationId="{375F07FC-34F6-648C-9E48-E4A4D2E69083}"/>
          </ac:spMkLst>
        </pc:spChg>
        <pc:picChg chg="add mod">
          <ac:chgData name="Nivedha N A" userId="48795343-f4b0-4368-b9f1-c6e5f3910d48" providerId="ADAL" clId="{3E51CB64-41DE-4E99-AA61-015D66A9A29C}" dt="2025-09-07T06:07:02.142" v="6442" actId="1076"/>
          <ac:picMkLst>
            <pc:docMk/>
            <pc:sldMk cId="1213524462" sldId="606"/>
            <ac:picMk id="7" creationId="{ED084D19-684F-0E65-D4FB-BB66B7B1C63A}"/>
          </ac:picMkLst>
        </pc:picChg>
        <pc:picChg chg="add mod">
          <ac:chgData name="Nivedha N A" userId="48795343-f4b0-4368-b9f1-c6e5f3910d48" providerId="ADAL" clId="{3E51CB64-41DE-4E99-AA61-015D66A9A29C}" dt="2025-09-07T06:06:50.868" v="6441" actId="1076"/>
          <ac:picMkLst>
            <pc:docMk/>
            <pc:sldMk cId="1213524462" sldId="606"/>
            <ac:picMk id="9" creationId="{7B235C93-46F9-831E-5680-DC75116CD390}"/>
          </ac:picMkLst>
        </pc:picChg>
      </pc:sldChg>
      <pc:sldChg chg="add">
        <pc:chgData name="Nivedha N A" userId="48795343-f4b0-4368-b9f1-c6e5f3910d48" providerId="ADAL" clId="{3E51CB64-41DE-4E99-AA61-015D66A9A29C}" dt="2025-09-07T06:05:25.644" v="6431" actId="2890"/>
        <pc:sldMkLst>
          <pc:docMk/>
          <pc:sldMk cId="4078179356" sldId="607"/>
        </pc:sldMkLst>
      </pc:sldChg>
      <pc:sldChg chg="addSp delSp modSp add mod">
        <pc:chgData name="Nivedha N A" userId="48795343-f4b0-4368-b9f1-c6e5f3910d48" providerId="ADAL" clId="{3E51CB64-41DE-4E99-AA61-015D66A9A29C}" dt="2025-09-07T07:55:54.275" v="6650" actId="1076"/>
        <pc:sldMkLst>
          <pc:docMk/>
          <pc:sldMk cId="1109307656" sldId="608"/>
        </pc:sldMkLst>
        <pc:spChg chg="mod">
          <ac:chgData name="Nivedha N A" userId="48795343-f4b0-4368-b9f1-c6e5f3910d48" providerId="ADAL" clId="{3E51CB64-41DE-4E99-AA61-015D66A9A29C}" dt="2025-09-07T07:55:54.275" v="6650" actId="1076"/>
          <ac:spMkLst>
            <pc:docMk/>
            <pc:sldMk cId="1109307656" sldId="608"/>
            <ac:spMk id="2" creationId="{8799A19A-3DA5-85D4-B71C-3A6D402BA047}"/>
          </ac:spMkLst>
        </pc:spChg>
        <pc:picChg chg="add mod">
          <ac:chgData name="Nivedha N A" userId="48795343-f4b0-4368-b9f1-c6e5f3910d48" providerId="ADAL" clId="{3E51CB64-41DE-4E99-AA61-015D66A9A29C}" dt="2025-09-07T07:54:48.801" v="6646" actId="14100"/>
          <ac:picMkLst>
            <pc:docMk/>
            <pc:sldMk cId="1109307656" sldId="608"/>
            <ac:picMk id="8" creationId="{5642351A-3798-225C-53A1-82043A9C6A01}"/>
          </ac:picMkLst>
        </pc:picChg>
        <pc:picChg chg="add mod">
          <ac:chgData name="Nivedha N A" userId="48795343-f4b0-4368-b9f1-c6e5f3910d48" providerId="ADAL" clId="{3E51CB64-41DE-4E99-AA61-015D66A9A29C}" dt="2025-09-07T07:54:55.170" v="6648" actId="14100"/>
          <ac:picMkLst>
            <pc:docMk/>
            <pc:sldMk cId="1109307656" sldId="608"/>
            <ac:picMk id="10" creationId="{5ECF7D5B-8C76-11B0-6FF0-4AC04DF08A5F}"/>
          </ac:picMkLst>
        </pc:picChg>
        <pc:picChg chg="add mod">
          <ac:chgData name="Nivedha N A" userId="48795343-f4b0-4368-b9f1-c6e5f3910d48" providerId="ADAL" clId="{3E51CB64-41DE-4E99-AA61-015D66A9A29C}" dt="2025-09-07T07:00:16.480" v="6535" actId="14100"/>
          <ac:picMkLst>
            <pc:docMk/>
            <pc:sldMk cId="1109307656" sldId="608"/>
            <ac:picMk id="18434" creationId="{B5CC2784-00F0-AA3D-516C-57CD695E0AE7}"/>
          </ac:picMkLst>
        </pc:picChg>
        <pc:picChg chg="add mod">
          <ac:chgData name="Nivedha N A" userId="48795343-f4b0-4368-b9f1-c6e5f3910d48" providerId="ADAL" clId="{3E51CB64-41DE-4E99-AA61-015D66A9A29C}" dt="2025-09-07T07:00:20.406" v="6536" actId="14100"/>
          <ac:picMkLst>
            <pc:docMk/>
            <pc:sldMk cId="1109307656" sldId="608"/>
            <ac:picMk id="18438" creationId="{A70EEC79-34B4-DFB7-446B-363B6D2D86BE}"/>
          </ac:picMkLst>
        </pc:picChg>
      </pc:sldChg>
      <pc:sldChg chg="addSp delSp modSp add">
        <pc:chgData name="Nivedha N A" userId="48795343-f4b0-4368-b9f1-c6e5f3910d48" providerId="ADAL" clId="{3E51CB64-41DE-4E99-AA61-015D66A9A29C}" dt="2025-09-07T07:45:47.385" v="6615" actId="14100"/>
        <pc:sldMkLst>
          <pc:docMk/>
          <pc:sldMk cId="3769338518" sldId="609"/>
        </pc:sldMkLst>
        <pc:picChg chg="add mod">
          <ac:chgData name="Nivedha N A" userId="48795343-f4b0-4368-b9f1-c6e5f3910d48" providerId="ADAL" clId="{3E51CB64-41DE-4E99-AA61-015D66A9A29C}" dt="2025-09-07T07:45:47.385" v="6615" actId="14100"/>
          <ac:picMkLst>
            <pc:docMk/>
            <pc:sldMk cId="3769338518" sldId="609"/>
            <ac:picMk id="20482" creationId="{F16C17CD-CF97-8BDD-C26A-4E45403C3FA2}"/>
          </ac:picMkLst>
        </pc:picChg>
      </pc:sldChg>
      <pc:sldChg chg="modSp add mod">
        <pc:chgData name="Nivedha N A" userId="48795343-f4b0-4368-b9f1-c6e5f3910d48" providerId="ADAL" clId="{3E51CB64-41DE-4E99-AA61-015D66A9A29C}" dt="2025-09-11T05:54:08.059" v="10975"/>
        <pc:sldMkLst>
          <pc:docMk/>
          <pc:sldMk cId="4021241874" sldId="610"/>
        </pc:sldMkLst>
        <pc:spChg chg="mod">
          <ac:chgData name="Nivedha N A" userId="48795343-f4b0-4368-b9f1-c6e5f3910d48" providerId="ADAL" clId="{3E51CB64-41DE-4E99-AA61-015D66A9A29C}" dt="2025-09-11T05:54:08.059" v="10975"/>
          <ac:spMkLst>
            <pc:docMk/>
            <pc:sldMk cId="4021241874" sldId="610"/>
            <ac:spMk id="3" creationId="{C3A9D706-5BEC-CAFD-1103-FDE0A886F2A3}"/>
          </ac:spMkLst>
        </pc:spChg>
        <pc:spChg chg="mod">
          <ac:chgData name="Nivedha N A" userId="48795343-f4b0-4368-b9f1-c6e5f3910d48" providerId="ADAL" clId="{3E51CB64-41DE-4E99-AA61-015D66A9A29C}" dt="2025-09-07T07:27:55.522" v="6578" actId="20577"/>
          <ac:spMkLst>
            <pc:docMk/>
            <pc:sldMk cId="4021241874" sldId="610"/>
            <ac:spMk id="4" creationId="{287DDF2A-593C-5B48-277B-7DBAAD387FAA}"/>
          </ac:spMkLst>
        </pc:spChg>
      </pc:sldChg>
      <pc:sldChg chg="addSp delSp modSp add mod ord modClrScheme chgLayout">
        <pc:chgData name="Nivedha N A" userId="48795343-f4b0-4368-b9f1-c6e5f3910d48" providerId="ADAL" clId="{3E51CB64-41DE-4E99-AA61-015D66A9A29C}" dt="2025-09-07T07:44:23.514" v="6603" actId="255"/>
        <pc:sldMkLst>
          <pc:docMk/>
          <pc:sldMk cId="2124806542" sldId="611"/>
        </pc:sldMkLst>
        <pc:spChg chg="mod">
          <ac:chgData name="Nivedha N A" userId="48795343-f4b0-4368-b9f1-c6e5f3910d48" providerId="ADAL" clId="{3E51CB64-41DE-4E99-AA61-015D66A9A29C}" dt="2025-09-07T07:42:24.521" v="6597" actId="20577"/>
          <ac:spMkLst>
            <pc:docMk/>
            <pc:sldMk cId="2124806542" sldId="611"/>
            <ac:spMk id="2" creationId="{88A22306-BC1D-8770-63B7-FA5C42E2EA8E}"/>
          </ac:spMkLst>
        </pc:spChg>
        <pc:spChg chg="mod">
          <ac:chgData name="Nivedha N A" userId="48795343-f4b0-4368-b9f1-c6e5f3910d48" providerId="ADAL" clId="{3E51CB64-41DE-4E99-AA61-015D66A9A29C}" dt="2025-09-07T07:42:11.104" v="6592" actId="26606"/>
          <ac:spMkLst>
            <pc:docMk/>
            <pc:sldMk cId="2124806542" sldId="611"/>
            <ac:spMk id="3" creationId="{044B13F4-32E6-9499-29E0-A544A31790F1}"/>
          </ac:spMkLst>
        </pc:spChg>
        <pc:spChg chg="mod ord">
          <ac:chgData name="Nivedha N A" userId="48795343-f4b0-4368-b9f1-c6e5f3910d48" providerId="ADAL" clId="{3E51CB64-41DE-4E99-AA61-015D66A9A29C}" dt="2025-09-07T07:42:11.104" v="6592" actId="26606"/>
          <ac:spMkLst>
            <pc:docMk/>
            <pc:sldMk cId="2124806542" sldId="611"/>
            <ac:spMk id="4" creationId="{44B7BC00-438A-8EF0-E822-C8E6A739CEC9}"/>
          </ac:spMkLst>
        </pc:spChg>
        <pc:spChg chg="add mod">
          <ac:chgData name="Nivedha N A" userId="48795343-f4b0-4368-b9f1-c6e5f3910d48" providerId="ADAL" clId="{3E51CB64-41DE-4E99-AA61-015D66A9A29C}" dt="2025-09-07T07:44:23.514" v="6603" actId="255"/>
          <ac:spMkLst>
            <pc:docMk/>
            <pc:sldMk cId="2124806542" sldId="611"/>
            <ac:spMk id="6" creationId="{7FC98494-C660-F321-2771-ECF5B2D2BDFF}"/>
          </ac:spMkLst>
        </pc:spChg>
        <pc:picChg chg="add mod">
          <ac:chgData name="Nivedha N A" userId="48795343-f4b0-4368-b9f1-c6e5f3910d48" providerId="ADAL" clId="{3E51CB64-41DE-4E99-AA61-015D66A9A29C}" dt="2025-09-07T07:42:11.104" v="6592" actId="26606"/>
          <ac:picMkLst>
            <pc:docMk/>
            <pc:sldMk cId="2124806542" sldId="611"/>
            <ac:picMk id="21508" creationId="{1435AC2C-90B6-BDD5-5791-8F53BA61667F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7T07:54:21.118" v="6644" actId="20577"/>
        <pc:sldMkLst>
          <pc:docMk/>
          <pc:sldMk cId="1363360046" sldId="612"/>
        </pc:sldMkLst>
        <pc:spChg chg="mod ord">
          <ac:chgData name="Nivedha N A" userId="48795343-f4b0-4368-b9f1-c6e5f3910d48" providerId="ADAL" clId="{3E51CB64-41DE-4E99-AA61-015D66A9A29C}" dt="2025-09-07T07:54:21.118" v="6644" actId="20577"/>
          <ac:spMkLst>
            <pc:docMk/>
            <pc:sldMk cId="1363360046" sldId="612"/>
            <ac:spMk id="2" creationId="{138AB976-33FF-6825-1937-AB7014E86703}"/>
          </ac:spMkLst>
        </pc:spChg>
        <pc:spChg chg="mod">
          <ac:chgData name="Nivedha N A" userId="48795343-f4b0-4368-b9f1-c6e5f3910d48" providerId="ADAL" clId="{3E51CB64-41DE-4E99-AA61-015D66A9A29C}" dt="2025-09-07T07:45:29.853" v="6613" actId="26606"/>
          <ac:spMkLst>
            <pc:docMk/>
            <pc:sldMk cId="1363360046" sldId="612"/>
            <ac:spMk id="3" creationId="{27834D62-9498-1FC3-2B3B-A65F0BDA3185}"/>
          </ac:spMkLst>
        </pc:spChg>
        <pc:spChg chg="mod ord">
          <ac:chgData name="Nivedha N A" userId="48795343-f4b0-4368-b9f1-c6e5f3910d48" providerId="ADAL" clId="{3E51CB64-41DE-4E99-AA61-015D66A9A29C}" dt="2025-09-07T07:45:29.853" v="6613" actId="26606"/>
          <ac:spMkLst>
            <pc:docMk/>
            <pc:sldMk cId="1363360046" sldId="612"/>
            <ac:spMk id="4" creationId="{289D946C-22D6-A177-9662-7FED3676F302}"/>
          </ac:spMkLst>
        </pc:spChg>
        <pc:picChg chg="add mod">
          <ac:chgData name="Nivedha N A" userId="48795343-f4b0-4368-b9f1-c6e5f3910d48" providerId="ADAL" clId="{3E51CB64-41DE-4E99-AA61-015D66A9A29C}" dt="2025-09-07T07:48:05.085" v="6618" actId="1076"/>
          <ac:picMkLst>
            <pc:docMk/>
            <pc:sldMk cId="1363360046" sldId="612"/>
            <ac:picMk id="22530" creationId="{6E35ED6A-FD73-3E1C-AC46-303433EAB230}"/>
          </ac:picMkLst>
        </pc:picChg>
      </pc:sldChg>
      <pc:sldChg chg="addSp modSp add del mod">
        <pc:chgData name="Nivedha N A" userId="48795343-f4b0-4368-b9f1-c6e5f3910d48" providerId="ADAL" clId="{3E51CB64-41DE-4E99-AA61-015D66A9A29C}" dt="2025-09-07T13:54:42.538" v="6961" actId="2696"/>
        <pc:sldMkLst>
          <pc:docMk/>
          <pc:sldMk cId="2320645195" sldId="613"/>
        </pc:sldMkLst>
      </pc:sldChg>
      <pc:sldChg chg="addSp modSp add del mod">
        <pc:chgData name="Nivedha N A" userId="48795343-f4b0-4368-b9f1-c6e5f3910d48" providerId="ADAL" clId="{3E51CB64-41DE-4E99-AA61-015D66A9A29C}" dt="2025-09-08T14:12:21.549" v="9164" actId="2696"/>
        <pc:sldMkLst>
          <pc:docMk/>
          <pc:sldMk cId="3183258445" sldId="614"/>
        </pc:sldMkLst>
      </pc:sldChg>
      <pc:sldChg chg="addSp delSp modSp add mod modClrScheme chgLayout">
        <pc:chgData name="Nivedha N A" userId="48795343-f4b0-4368-b9f1-c6e5f3910d48" providerId="ADAL" clId="{3E51CB64-41DE-4E99-AA61-015D66A9A29C}" dt="2025-09-07T14:24:52.183" v="6964" actId="14100"/>
        <pc:sldMkLst>
          <pc:docMk/>
          <pc:sldMk cId="1461482317" sldId="615"/>
        </pc:sldMkLst>
        <pc:spChg chg="mod ord">
          <ac:chgData name="Nivedha N A" userId="48795343-f4b0-4368-b9f1-c6e5f3910d48" providerId="ADAL" clId="{3E51CB64-41DE-4E99-AA61-015D66A9A29C}" dt="2025-09-07T13:20:45.717" v="6757" actId="20577"/>
          <ac:spMkLst>
            <pc:docMk/>
            <pc:sldMk cId="1461482317" sldId="615"/>
            <ac:spMk id="2" creationId="{1EFBDC41-4D90-311E-337D-0E8C93EEC7FE}"/>
          </ac:spMkLst>
        </pc:spChg>
        <pc:spChg chg="mod">
          <ac:chgData name="Nivedha N A" userId="48795343-f4b0-4368-b9f1-c6e5f3910d48" providerId="ADAL" clId="{3E51CB64-41DE-4E99-AA61-015D66A9A29C}" dt="2025-09-07T13:19:51.504" v="6712" actId="26606"/>
          <ac:spMkLst>
            <pc:docMk/>
            <pc:sldMk cId="1461482317" sldId="615"/>
            <ac:spMk id="3" creationId="{0284FF4F-ADFB-50CF-785E-D610E9500AAF}"/>
          </ac:spMkLst>
        </pc:spChg>
        <pc:spChg chg="mod">
          <ac:chgData name="Nivedha N A" userId="48795343-f4b0-4368-b9f1-c6e5f3910d48" providerId="ADAL" clId="{3E51CB64-41DE-4E99-AA61-015D66A9A29C}" dt="2025-09-07T13:19:51.504" v="6712" actId="26606"/>
          <ac:spMkLst>
            <pc:docMk/>
            <pc:sldMk cId="1461482317" sldId="615"/>
            <ac:spMk id="4" creationId="{ADDB4681-EAF2-E837-3681-E9960B193759}"/>
          </ac:spMkLst>
        </pc:spChg>
        <pc:spChg chg="mod ord">
          <ac:chgData name="Nivedha N A" userId="48795343-f4b0-4368-b9f1-c6e5f3910d48" providerId="ADAL" clId="{3E51CB64-41DE-4E99-AA61-015D66A9A29C}" dt="2025-09-07T14:24:48.648" v="6963" actId="27636"/>
          <ac:spMkLst>
            <pc:docMk/>
            <pc:sldMk cId="1461482317" sldId="615"/>
            <ac:spMk id="6" creationId="{55887A9B-5C52-AEDF-224F-CEBC5DC2D4C7}"/>
          </ac:spMkLst>
        </pc:spChg>
        <pc:picChg chg="add mod">
          <ac:chgData name="Nivedha N A" userId="48795343-f4b0-4368-b9f1-c6e5f3910d48" providerId="ADAL" clId="{3E51CB64-41DE-4E99-AA61-015D66A9A29C}" dt="2025-09-07T14:24:52.183" v="6964" actId="14100"/>
          <ac:picMkLst>
            <pc:docMk/>
            <pc:sldMk cId="1461482317" sldId="615"/>
            <ac:picMk id="7" creationId="{C0C41232-819C-2670-B147-92093D403857}"/>
          </ac:picMkLst>
        </pc:picChg>
      </pc:sldChg>
      <pc:sldChg chg="del">
        <pc:chgData name="Nivedha N A" userId="48795343-f4b0-4368-b9f1-c6e5f3910d48" providerId="ADAL" clId="{3E51CB64-41DE-4E99-AA61-015D66A9A29C}" dt="2025-09-01T10:06:09.732" v="99" actId="2696"/>
        <pc:sldMkLst>
          <pc:docMk/>
          <pc:sldMk cId="3774469157" sldId="615"/>
        </pc:sldMkLst>
      </pc:sldChg>
      <pc:sldChg chg="addSp delSp modSp add mod">
        <pc:chgData name="Nivedha N A" userId="48795343-f4b0-4368-b9f1-c6e5f3910d48" providerId="ADAL" clId="{3E51CB64-41DE-4E99-AA61-015D66A9A29C}" dt="2025-09-08T06:16:58.088" v="7260" actId="20577"/>
        <pc:sldMkLst>
          <pc:docMk/>
          <pc:sldMk cId="2101562338" sldId="616"/>
        </pc:sldMkLst>
        <pc:spChg chg="mod">
          <ac:chgData name="Nivedha N A" userId="48795343-f4b0-4368-b9f1-c6e5f3910d48" providerId="ADAL" clId="{3E51CB64-41DE-4E99-AA61-015D66A9A29C}" dt="2025-09-08T06:16:58.088" v="7260" actId="20577"/>
          <ac:spMkLst>
            <pc:docMk/>
            <pc:sldMk cId="2101562338" sldId="616"/>
            <ac:spMk id="2" creationId="{E6D3B08E-B2D4-3BBB-0FC3-EB06F94CBC5F}"/>
          </ac:spMkLst>
        </pc:spChg>
        <pc:spChg chg="mod">
          <ac:chgData name="Nivedha N A" userId="48795343-f4b0-4368-b9f1-c6e5f3910d48" providerId="ADAL" clId="{3E51CB64-41DE-4E99-AA61-015D66A9A29C}" dt="2025-09-07T13:54:31.347" v="6960" actId="1076"/>
          <ac:spMkLst>
            <pc:docMk/>
            <pc:sldMk cId="2101562338" sldId="616"/>
            <ac:spMk id="6" creationId="{27E766BC-1FF1-C819-8554-AD02CFE5F4F6}"/>
          </ac:spMkLst>
        </pc:spChg>
        <pc:picChg chg="add mod">
          <ac:chgData name="Nivedha N A" userId="48795343-f4b0-4368-b9f1-c6e5f3910d48" providerId="ADAL" clId="{3E51CB64-41DE-4E99-AA61-015D66A9A29C}" dt="2025-09-07T13:54:21.847" v="6959" actId="1076"/>
          <ac:picMkLst>
            <pc:docMk/>
            <pc:sldMk cId="2101562338" sldId="616"/>
            <ac:picMk id="5" creationId="{22BA06F6-476B-C6D4-8FF3-609DFA211D58}"/>
          </ac:picMkLst>
        </pc:picChg>
      </pc:sldChg>
      <pc:sldChg chg="del">
        <pc:chgData name="Nivedha N A" userId="48795343-f4b0-4368-b9f1-c6e5f3910d48" providerId="ADAL" clId="{3E51CB64-41DE-4E99-AA61-015D66A9A29C}" dt="2025-09-01T10:06:12.140" v="100" actId="2696"/>
        <pc:sldMkLst>
          <pc:docMk/>
          <pc:sldMk cId="2924933890" sldId="616"/>
        </pc:sldMkLst>
      </pc:sldChg>
      <pc:sldChg chg="addSp delSp modSp add mod modClrScheme chgLayout">
        <pc:chgData name="Nivedha N A" userId="48795343-f4b0-4368-b9f1-c6e5f3910d48" providerId="ADAL" clId="{3E51CB64-41DE-4E99-AA61-015D66A9A29C}" dt="2025-09-08T03:55:05.898" v="7199" actId="207"/>
        <pc:sldMkLst>
          <pc:docMk/>
          <pc:sldMk cId="3100684125" sldId="617"/>
        </pc:sldMkLst>
        <pc:spChg chg="mod ord">
          <ac:chgData name="Nivedha N A" userId="48795343-f4b0-4368-b9f1-c6e5f3910d48" providerId="ADAL" clId="{3E51CB64-41DE-4E99-AA61-015D66A9A29C}" dt="2025-09-07T14:39:55.197" v="6973" actId="26606"/>
          <ac:spMkLst>
            <pc:docMk/>
            <pc:sldMk cId="3100684125" sldId="617"/>
            <ac:spMk id="2" creationId="{3A29D47A-3B3C-72B2-B504-522619A39543}"/>
          </ac:spMkLst>
        </pc:spChg>
        <pc:spChg chg="mod">
          <ac:chgData name="Nivedha N A" userId="48795343-f4b0-4368-b9f1-c6e5f3910d48" providerId="ADAL" clId="{3E51CB64-41DE-4E99-AA61-015D66A9A29C}" dt="2025-09-07T14:39:55.197" v="6973" actId="26606"/>
          <ac:spMkLst>
            <pc:docMk/>
            <pc:sldMk cId="3100684125" sldId="617"/>
            <ac:spMk id="3" creationId="{426EC51D-028E-CDE3-ECF8-318AAA5279EF}"/>
          </ac:spMkLst>
        </pc:spChg>
        <pc:spChg chg="mod">
          <ac:chgData name="Nivedha N A" userId="48795343-f4b0-4368-b9f1-c6e5f3910d48" providerId="ADAL" clId="{3E51CB64-41DE-4E99-AA61-015D66A9A29C}" dt="2025-09-07T14:39:55.197" v="6973" actId="26606"/>
          <ac:spMkLst>
            <pc:docMk/>
            <pc:sldMk cId="3100684125" sldId="617"/>
            <ac:spMk id="4" creationId="{39A14D5A-DB63-4079-E6A7-9BE4105281EF}"/>
          </ac:spMkLst>
        </pc:spChg>
        <pc:spChg chg="add mod">
          <ac:chgData name="Nivedha N A" userId="48795343-f4b0-4368-b9f1-c6e5f3910d48" providerId="ADAL" clId="{3E51CB64-41DE-4E99-AA61-015D66A9A29C}" dt="2025-09-08T03:55:05.898" v="7199" actId="207"/>
          <ac:spMkLst>
            <pc:docMk/>
            <pc:sldMk cId="3100684125" sldId="617"/>
            <ac:spMk id="14" creationId="{28ACBDF0-5261-117A-E529-953D0B55F6CD}"/>
          </ac:spMkLst>
        </pc:spChg>
        <pc:picChg chg="add mod">
          <ac:chgData name="Nivedha N A" userId="48795343-f4b0-4368-b9f1-c6e5f3910d48" providerId="ADAL" clId="{3E51CB64-41DE-4E99-AA61-015D66A9A29C}" dt="2025-09-07T14:40:36.203" v="6983" actId="1076"/>
          <ac:picMkLst>
            <pc:docMk/>
            <pc:sldMk cId="3100684125" sldId="617"/>
            <ac:picMk id="11" creationId="{CE793047-2F56-43D5-85D3-7F5FB1F5A8CA}"/>
          </ac:picMkLst>
        </pc:picChg>
      </pc:sldChg>
      <pc:sldChg chg="addSp modSp add mod">
        <pc:chgData name="Nivedha N A" userId="48795343-f4b0-4368-b9f1-c6e5f3910d48" providerId="ADAL" clId="{3E51CB64-41DE-4E99-AA61-015D66A9A29C}" dt="2025-09-08T06:48:03.163" v="7314"/>
        <pc:sldMkLst>
          <pc:docMk/>
          <pc:sldMk cId="1703464597" sldId="618"/>
        </pc:sldMkLst>
        <pc:spChg chg="mod">
          <ac:chgData name="Nivedha N A" userId="48795343-f4b0-4368-b9f1-c6e5f3910d48" providerId="ADAL" clId="{3E51CB64-41DE-4E99-AA61-015D66A9A29C}" dt="2025-09-08T06:48:03.163" v="7314"/>
          <ac:spMkLst>
            <pc:docMk/>
            <pc:sldMk cId="1703464597" sldId="618"/>
            <ac:spMk id="2" creationId="{300224C8-1CCF-26BD-2629-590CF8BFAFCA}"/>
          </ac:spMkLst>
        </pc:spChg>
        <pc:spChg chg="mod">
          <ac:chgData name="Nivedha N A" userId="48795343-f4b0-4368-b9f1-c6e5f3910d48" providerId="ADAL" clId="{3E51CB64-41DE-4E99-AA61-015D66A9A29C}" dt="2025-09-08T06:45:42.062" v="7307" actId="26606"/>
          <ac:spMkLst>
            <pc:docMk/>
            <pc:sldMk cId="1703464597" sldId="618"/>
            <ac:spMk id="3" creationId="{15231514-A0CD-DBEA-6DDD-5C86712C0291}"/>
          </ac:spMkLst>
        </pc:spChg>
        <pc:spChg chg="mod">
          <ac:chgData name="Nivedha N A" userId="48795343-f4b0-4368-b9f1-c6e5f3910d48" providerId="ADAL" clId="{3E51CB64-41DE-4E99-AA61-015D66A9A29C}" dt="2025-09-08T06:45:42.062" v="7307" actId="26606"/>
          <ac:spMkLst>
            <pc:docMk/>
            <pc:sldMk cId="1703464597" sldId="618"/>
            <ac:spMk id="4" creationId="{DE031E58-0E1E-D695-3CDA-1727ABA29D20}"/>
          </ac:spMkLst>
        </pc:spChg>
        <pc:spChg chg="ord">
          <ac:chgData name="Nivedha N A" userId="48795343-f4b0-4368-b9f1-c6e5f3910d48" providerId="ADAL" clId="{3E51CB64-41DE-4E99-AA61-015D66A9A29C}" dt="2025-09-08T06:45:42.062" v="7307" actId="26606"/>
          <ac:spMkLst>
            <pc:docMk/>
            <pc:sldMk cId="1703464597" sldId="618"/>
            <ac:spMk id="10" creationId="{C3C2B7DA-79A7-3ABD-FEA9-766F388BDCAF}"/>
          </ac:spMkLst>
        </pc:spChg>
        <pc:spChg chg="mod ord">
          <ac:chgData name="Nivedha N A" userId="48795343-f4b0-4368-b9f1-c6e5f3910d48" providerId="ADAL" clId="{3E51CB64-41DE-4E99-AA61-015D66A9A29C}" dt="2025-09-08T06:46:15.271" v="7311" actId="14100"/>
          <ac:spMkLst>
            <pc:docMk/>
            <pc:sldMk cId="1703464597" sldId="618"/>
            <ac:spMk id="11" creationId="{56A8CA39-264B-350B-30A1-BBB9545123E5}"/>
          </ac:spMkLst>
        </pc:spChg>
        <pc:picChg chg="add mod">
          <ac:chgData name="Nivedha N A" userId="48795343-f4b0-4368-b9f1-c6e5f3910d48" providerId="ADAL" clId="{3E51CB64-41DE-4E99-AA61-015D66A9A29C}" dt="2025-09-08T06:46:18.266" v="7312" actId="1076"/>
          <ac:picMkLst>
            <pc:docMk/>
            <pc:sldMk cId="1703464597" sldId="618"/>
            <ac:picMk id="7" creationId="{26AA68F3-CF42-0CCE-5DF6-EB0AF0ECE9CA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6:22:37.425" v="7281" actId="1076"/>
        <pc:sldMkLst>
          <pc:docMk/>
          <pc:sldMk cId="4081859450" sldId="619"/>
        </pc:sldMkLst>
        <pc:spChg chg="mod">
          <ac:chgData name="Nivedha N A" userId="48795343-f4b0-4368-b9f1-c6e5f3910d48" providerId="ADAL" clId="{3E51CB64-41DE-4E99-AA61-015D66A9A29C}" dt="2025-09-08T06:17:21.960" v="7274" actId="20577"/>
          <ac:spMkLst>
            <pc:docMk/>
            <pc:sldMk cId="4081859450" sldId="619"/>
            <ac:spMk id="2" creationId="{E12C30F4-5037-63B4-E734-BFDF35233DFF}"/>
          </ac:spMkLst>
        </pc:spChg>
        <pc:picChg chg="add mod">
          <ac:chgData name="Nivedha N A" userId="48795343-f4b0-4368-b9f1-c6e5f3910d48" providerId="ADAL" clId="{3E51CB64-41DE-4E99-AA61-015D66A9A29C}" dt="2025-09-08T06:22:37.425" v="7281" actId="1076"/>
          <ac:picMkLst>
            <pc:docMk/>
            <pc:sldMk cId="4081859450" sldId="619"/>
            <ac:picMk id="8" creationId="{5C6BE603-7177-775B-2362-DD09657A8426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6:56:12.379" v="7374" actId="27636"/>
        <pc:sldMkLst>
          <pc:docMk/>
          <pc:sldMk cId="722529420" sldId="620"/>
        </pc:sldMkLst>
        <pc:spChg chg="mod">
          <ac:chgData name="Nivedha N A" userId="48795343-f4b0-4368-b9f1-c6e5f3910d48" providerId="ADAL" clId="{3E51CB64-41DE-4E99-AA61-015D66A9A29C}" dt="2025-09-08T06:48:19.634" v="7315"/>
          <ac:spMkLst>
            <pc:docMk/>
            <pc:sldMk cId="722529420" sldId="620"/>
            <ac:spMk id="2" creationId="{AFF3E599-E0A7-3A3A-0E45-F56ABA46FBBC}"/>
          </ac:spMkLst>
        </pc:spChg>
        <pc:spChg chg="mod">
          <ac:chgData name="Nivedha N A" userId="48795343-f4b0-4368-b9f1-c6e5f3910d48" providerId="ADAL" clId="{3E51CB64-41DE-4E99-AA61-015D66A9A29C}" dt="2025-09-08T06:56:12.379" v="7374" actId="27636"/>
          <ac:spMkLst>
            <pc:docMk/>
            <pc:sldMk cId="722529420" sldId="620"/>
            <ac:spMk id="11" creationId="{31AF4B33-1420-CA6C-ED6E-E3AEE53CB04A}"/>
          </ac:spMkLst>
        </pc:spChg>
        <pc:picChg chg="add mod">
          <ac:chgData name="Nivedha N A" userId="48795343-f4b0-4368-b9f1-c6e5f3910d48" providerId="ADAL" clId="{3E51CB64-41DE-4E99-AA61-015D66A9A29C}" dt="2025-09-08T06:52:41.535" v="7337" actId="1076"/>
          <ac:picMkLst>
            <pc:docMk/>
            <pc:sldMk cId="722529420" sldId="620"/>
            <ac:picMk id="6" creationId="{4A3205CE-0199-EC62-F5C6-387DF58D8D8B}"/>
          </ac:picMkLst>
        </pc:picChg>
        <pc:picChg chg="add mod">
          <ac:chgData name="Nivedha N A" userId="48795343-f4b0-4368-b9f1-c6e5f3910d48" providerId="ADAL" clId="{3E51CB64-41DE-4E99-AA61-015D66A9A29C}" dt="2025-09-08T06:52:27.942" v="7336" actId="1076"/>
          <ac:picMkLst>
            <pc:docMk/>
            <pc:sldMk cId="722529420" sldId="620"/>
            <ac:picMk id="9" creationId="{5306DF42-7FBC-00B6-EFC8-CA242B5C7E74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6:57:48.353" v="7388" actId="14100"/>
        <pc:sldMkLst>
          <pc:docMk/>
          <pc:sldMk cId="1095972861" sldId="621"/>
        </pc:sldMkLst>
        <pc:spChg chg="mod">
          <ac:chgData name="Nivedha N A" userId="48795343-f4b0-4368-b9f1-c6e5f3910d48" providerId="ADAL" clId="{3E51CB64-41DE-4E99-AA61-015D66A9A29C}" dt="2025-09-08T06:55:35.355" v="7339"/>
          <ac:spMkLst>
            <pc:docMk/>
            <pc:sldMk cId="1095972861" sldId="621"/>
            <ac:spMk id="2" creationId="{961AE2D1-518E-26F2-2FC0-47B9359B202C}"/>
          </ac:spMkLst>
        </pc:spChg>
        <pc:spChg chg="mod">
          <ac:chgData name="Nivedha N A" userId="48795343-f4b0-4368-b9f1-c6e5f3910d48" providerId="ADAL" clId="{3E51CB64-41DE-4E99-AA61-015D66A9A29C}" dt="2025-09-08T06:57:11.037" v="7382" actId="207"/>
          <ac:spMkLst>
            <pc:docMk/>
            <pc:sldMk cId="1095972861" sldId="621"/>
            <ac:spMk id="11" creationId="{494BE161-E135-1EBA-B9E3-38BBDD5D68F1}"/>
          </ac:spMkLst>
        </pc:spChg>
        <pc:picChg chg="add mod">
          <ac:chgData name="Nivedha N A" userId="48795343-f4b0-4368-b9f1-c6e5f3910d48" providerId="ADAL" clId="{3E51CB64-41DE-4E99-AA61-015D66A9A29C}" dt="2025-09-08T06:57:48.353" v="7388" actId="14100"/>
          <ac:picMkLst>
            <pc:docMk/>
            <pc:sldMk cId="1095972861" sldId="621"/>
            <ac:picMk id="7" creationId="{C495BCCF-04A5-1BAD-761C-52AEF7E8BF4B}"/>
          </ac:picMkLst>
        </pc:picChg>
        <pc:picChg chg="add mod">
          <ac:chgData name="Nivedha N A" userId="48795343-f4b0-4368-b9f1-c6e5f3910d48" providerId="ADAL" clId="{3E51CB64-41DE-4E99-AA61-015D66A9A29C}" dt="2025-09-08T06:57:40.202" v="7387" actId="14100"/>
          <ac:picMkLst>
            <pc:docMk/>
            <pc:sldMk cId="1095972861" sldId="621"/>
            <ac:picMk id="12" creationId="{BEB2997C-BEF2-91B3-3F3F-6DC28E383F66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7:04:11.684" v="7400" actId="1076"/>
        <pc:sldMkLst>
          <pc:docMk/>
          <pc:sldMk cId="3244420474" sldId="622"/>
        </pc:sldMkLst>
        <pc:spChg chg="mod">
          <ac:chgData name="Nivedha N A" userId="48795343-f4b0-4368-b9f1-c6e5f3910d48" providerId="ADAL" clId="{3E51CB64-41DE-4E99-AA61-015D66A9A29C}" dt="2025-09-08T06:58:17.204" v="7390"/>
          <ac:spMkLst>
            <pc:docMk/>
            <pc:sldMk cId="3244420474" sldId="622"/>
            <ac:spMk id="2" creationId="{A90C8D81-DAE7-7B66-C2DF-80F90D1933FC}"/>
          </ac:spMkLst>
        </pc:spChg>
        <pc:spChg chg="mod">
          <ac:chgData name="Nivedha N A" userId="48795343-f4b0-4368-b9f1-c6e5f3910d48" providerId="ADAL" clId="{3E51CB64-41DE-4E99-AA61-015D66A9A29C}" dt="2025-09-08T06:58:34.585" v="7392" actId="207"/>
          <ac:spMkLst>
            <pc:docMk/>
            <pc:sldMk cId="3244420474" sldId="622"/>
            <ac:spMk id="11" creationId="{8F8D1BD3-02DD-8C9B-47C4-8D74D77C8E7A}"/>
          </ac:spMkLst>
        </pc:spChg>
        <pc:picChg chg="add mod">
          <ac:chgData name="Nivedha N A" userId="48795343-f4b0-4368-b9f1-c6e5f3910d48" providerId="ADAL" clId="{3E51CB64-41DE-4E99-AA61-015D66A9A29C}" dt="2025-09-08T07:04:11.684" v="7400" actId="1076"/>
          <ac:picMkLst>
            <pc:docMk/>
            <pc:sldMk cId="3244420474" sldId="622"/>
            <ac:picMk id="6" creationId="{885F57DE-18CF-3802-10A6-7E1C9FA91D2A}"/>
          </ac:picMkLst>
        </pc:picChg>
        <pc:picChg chg="add mod">
          <ac:chgData name="Nivedha N A" userId="48795343-f4b0-4368-b9f1-c6e5f3910d48" providerId="ADAL" clId="{3E51CB64-41DE-4E99-AA61-015D66A9A29C}" dt="2025-09-08T07:03:51.270" v="7398" actId="1076"/>
          <ac:picMkLst>
            <pc:docMk/>
            <pc:sldMk cId="3244420474" sldId="622"/>
            <ac:picMk id="9" creationId="{08657DF0-880D-69AB-D6AA-575D3D745C57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7:18:13.106" v="7418" actId="1076"/>
        <pc:sldMkLst>
          <pc:docMk/>
          <pc:sldMk cId="438690751" sldId="623"/>
        </pc:sldMkLst>
        <pc:spChg chg="mod">
          <ac:chgData name="Nivedha N A" userId="48795343-f4b0-4368-b9f1-c6e5f3910d48" providerId="ADAL" clId="{3E51CB64-41DE-4E99-AA61-015D66A9A29C}" dt="2025-09-08T07:04:48.993" v="7402"/>
          <ac:spMkLst>
            <pc:docMk/>
            <pc:sldMk cId="438690751" sldId="623"/>
            <ac:spMk id="2" creationId="{A12B3393-87BB-ECE2-FF78-293AED2FEA47}"/>
          </ac:spMkLst>
        </pc:spChg>
        <pc:spChg chg="mod">
          <ac:chgData name="Nivedha N A" userId="48795343-f4b0-4368-b9f1-c6e5f3910d48" providerId="ADAL" clId="{3E51CB64-41DE-4E99-AA61-015D66A9A29C}" dt="2025-09-08T07:05:09.513" v="7404" actId="207"/>
          <ac:spMkLst>
            <pc:docMk/>
            <pc:sldMk cId="438690751" sldId="623"/>
            <ac:spMk id="11" creationId="{A0537638-EF5C-CC75-8721-805B239A543D}"/>
          </ac:spMkLst>
        </pc:spChg>
        <pc:picChg chg="add mod">
          <ac:chgData name="Nivedha N A" userId="48795343-f4b0-4368-b9f1-c6e5f3910d48" providerId="ADAL" clId="{3E51CB64-41DE-4E99-AA61-015D66A9A29C}" dt="2025-09-08T07:18:13.106" v="7418" actId="1076"/>
          <ac:picMkLst>
            <pc:docMk/>
            <pc:sldMk cId="438690751" sldId="623"/>
            <ac:picMk id="7" creationId="{50B61039-5246-2651-C314-60E60DED9AA8}"/>
          </ac:picMkLst>
        </pc:picChg>
        <pc:picChg chg="add mod">
          <ac:chgData name="Nivedha N A" userId="48795343-f4b0-4368-b9f1-c6e5f3910d48" providerId="ADAL" clId="{3E51CB64-41DE-4E99-AA61-015D66A9A29C}" dt="2025-09-08T07:18:10.363" v="7417" actId="1076"/>
          <ac:picMkLst>
            <pc:docMk/>
            <pc:sldMk cId="438690751" sldId="623"/>
            <ac:picMk id="12" creationId="{4BCA5A5D-E782-5F13-09A1-87C5A8065FD2}"/>
          </ac:picMkLst>
        </pc:picChg>
      </pc:sldChg>
      <pc:sldChg chg="modSp add del mod">
        <pc:chgData name="Nivedha N A" userId="48795343-f4b0-4368-b9f1-c6e5f3910d48" providerId="ADAL" clId="{3E51CB64-41DE-4E99-AA61-015D66A9A29C}" dt="2025-09-08T07:22:33.961" v="7464" actId="2696"/>
        <pc:sldMkLst>
          <pc:docMk/>
          <pc:sldMk cId="3503099042" sldId="624"/>
        </pc:sldMkLst>
      </pc:sldChg>
      <pc:sldChg chg="addSp delSp modSp add mod">
        <pc:chgData name="Nivedha N A" userId="48795343-f4b0-4368-b9f1-c6e5f3910d48" providerId="ADAL" clId="{3E51CB64-41DE-4E99-AA61-015D66A9A29C}" dt="2025-09-10T11:18:59.331" v="10005" actId="1076"/>
        <pc:sldMkLst>
          <pc:docMk/>
          <pc:sldMk cId="682366673" sldId="625"/>
        </pc:sldMkLst>
        <pc:spChg chg="mod">
          <ac:chgData name="Nivedha N A" userId="48795343-f4b0-4368-b9f1-c6e5f3910d48" providerId="ADAL" clId="{3E51CB64-41DE-4E99-AA61-015D66A9A29C}" dt="2025-09-10T11:18:59.331" v="10005" actId="1076"/>
          <ac:spMkLst>
            <pc:docMk/>
            <pc:sldMk cId="682366673" sldId="625"/>
            <ac:spMk id="5" creationId="{BC3F1823-AA3A-3C8E-7A04-83D0130C0DB5}"/>
          </ac:spMkLst>
        </pc:spChg>
      </pc:sldChg>
      <pc:sldChg chg="addSp modSp add mod">
        <pc:chgData name="Nivedha N A" userId="48795343-f4b0-4368-b9f1-c6e5f3910d48" providerId="ADAL" clId="{3E51CB64-41DE-4E99-AA61-015D66A9A29C}" dt="2025-09-08T07:36:35.532" v="7588" actId="1076"/>
        <pc:sldMkLst>
          <pc:docMk/>
          <pc:sldMk cId="4067441846" sldId="626"/>
        </pc:sldMkLst>
        <pc:spChg chg="mod">
          <ac:chgData name="Nivedha N A" userId="48795343-f4b0-4368-b9f1-c6e5f3910d48" providerId="ADAL" clId="{3E51CB64-41DE-4E99-AA61-015D66A9A29C}" dt="2025-09-08T07:33:30.672" v="7487" actId="20577"/>
          <ac:spMkLst>
            <pc:docMk/>
            <pc:sldMk cId="4067441846" sldId="626"/>
            <ac:spMk id="2" creationId="{BE2C8FC2-B916-3C7A-FEAF-BC9893F7F56E}"/>
          </ac:spMkLst>
        </pc:spChg>
        <pc:spChg chg="add mod">
          <ac:chgData name="Nivedha N A" userId="48795343-f4b0-4368-b9f1-c6e5f3910d48" providerId="ADAL" clId="{3E51CB64-41DE-4E99-AA61-015D66A9A29C}" dt="2025-09-08T07:33:13.627" v="7479"/>
          <ac:spMkLst>
            <pc:docMk/>
            <pc:sldMk cId="4067441846" sldId="626"/>
            <ac:spMk id="7" creationId="{1E6A09BB-A325-A0E2-2F6C-BF526741A270}"/>
          </ac:spMkLst>
        </pc:spChg>
        <pc:spChg chg="mod">
          <ac:chgData name="Nivedha N A" userId="48795343-f4b0-4368-b9f1-c6e5f3910d48" providerId="ADAL" clId="{3E51CB64-41DE-4E99-AA61-015D66A9A29C}" dt="2025-09-08T07:36:35.532" v="7588" actId="1076"/>
          <ac:spMkLst>
            <pc:docMk/>
            <pc:sldMk cId="4067441846" sldId="626"/>
            <ac:spMk id="11" creationId="{8E226694-50CC-7BCA-36F4-9EEF9AFD9E67}"/>
          </ac:spMkLst>
        </pc:spChg>
        <pc:spChg chg="add mod">
          <ac:chgData name="Nivedha N A" userId="48795343-f4b0-4368-b9f1-c6e5f3910d48" providerId="ADAL" clId="{3E51CB64-41DE-4E99-AA61-015D66A9A29C}" dt="2025-09-08T07:36:27.035" v="7586" actId="1076"/>
          <ac:spMkLst>
            <pc:docMk/>
            <pc:sldMk cId="4067441846" sldId="626"/>
            <ac:spMk id="12" creationId="{B5D7A453-77E2-F9B5-CED8-18CF58F68A1B}"/>
          </ac:spMkLst>
        </pc:spChg>
        <pc:picChg chg="add mod">
          <ac:chgData name="Nivedha N A" userId="48795343-f4b0-4368-b9f1-c6e5f3910d48" providerId="ADAL" clId="{3E51CB64-41DE-4E99-AA61-015D66A9A29C}" dt="2025-09-08T07:36:23.471" v="7585" actId="1076"/>
          <ac:picMkLst>
            <pc:docMk/>
            <pc:sldMk cId="4067441846" sldId="626"/>
            <ac:picMk id="6" creationId="{B627F155-26FC-06F4-816A-6453E12338D4}"/>
          </ac:picMkLst>
        </pc:picChg>
        <pc:picChg chg="add mod">
          <ac:chgData name="Nivedha N A" userId="48795343-f4b0-4368-b9f1-c6e5f3910d48" providerId="ADAL" clId="{3E51CB64-41DE-4E99-AA61-015D66A9A29C}" dt="2025-09-08T07:36:31.646" v="7587" actId="1076"/>
          <ac:picMkLst>
            <pc:docMk/>
            <pc:sldMk cId="4067441846" sldId="626"/>
            <ac:picMk id="9" creationId="{0BF8A8EA-9CC1-C5EE-6A74-73F1C68B15E4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9:22:41.295" v="7635" actId="14100"/>
        <pc:sldMkLst>
          <pc:docMk/>
          <pc:sldMk cId="262833566" sldId="627"/>
        </pc:sldMkLst>
        <pc:spChg chg="mod">
          <ac:chgData name="Nivedha N A" userId="48795343-f4b0-4368-b9f1-c6e5f3910d48" providerId="ADAL" clId="{3E51CB64-41DE-4E99-AA61-015D66A9A29C}" dt="2025-09-08T09:18:16.889" v="7612" actId="1076"/>
          <ac:spMkLst>
            <pc:docMk/>
            <pc:sldMk cId="262833566" sldId="627"/>
            <ac:spMk id="2" creationId="{606D479D-8D13-D01B-2776-2D2CDAAFB7ED}"/>
          </ac:spMkLst>
        </pc:spChg>
        <pc:spChg chg="mod">
          <ac:chgData name="Nivedha N A" userId="48795343-f4b0-4368-b9f1-c6e5f3910d48" providerId="ADAL" clId="{3E51CB64-41DE-4E99-AA61-015D66A9A29C}" dt="2025-09-08T09:20:44.954" v="7630" actId="14100"/>
          <ac:spMkLst>
            <pc:docMk/>
            <pc:sldMk cId="262833566" sldId="627"/>
            <ac:spMk id="7" creationId="{24F95273-B9DB-286A-BE8D-781FCF2C815F}"/>
          </ac:spMkLst>
        </pc:spChg>
        <pc:spChg chg="mod">
          <ac:chgData name="Nivedha N A" userId="48795343-f4b0-4368-b9f1-c6e5f3910d48" providerId="ADAL" clId="{3E51CB64-41DE-4E99-AA61-015D66A9A29C}" dt="2025-09-08T09:21:46.620" v="7632" actId="207"/>
          <ac:spMkLst>
            <pc:docMk/>
            <pc:sldMk cId="262833566" sldId="627"/>
            <ac:spMk id="11" creationId="{48AC777B-EA20-A016-673E-24EC1388C323}"/>
          </ac:spMkLst>
        </pc:spChg>
        <pc:spChg chg="mod">
          <ac:chgData name="Nivedha N A" userId="48795343-f4b0-4368-b9f1-c6e5f3910d48" providerId="ADAL" clId="{3E51CB64-41DE-4E99-AA61-015D66A9A29C}" dt="2025-09-08T09:19:28.652" v="7617" actId="14100"/>
          <ac:spMkLst>
            <pc:docMk/>
            <pc:sldMk cId="262833566" sldId="627"/>
            <ac:spMk id="12" creationId="{4AF8C356-8C99-C95C-DD49-4206B319EB17}"/>
          </ac:spMkLst>
        </pc:spChg>
        <pc:spChg chg="add mod">
          <ac:chgData name="Nivedha N A" userId="48795343-f4b0-4368-b9f1-c6e5f3910d48" providerId="ADAL" clId="{3E51CB64-41DE-4E99-AA61-015D66A9A29C}" dt="2025-09-08T09:20:12.562" v="7622" actId="1076"/>
          <ac:spMkLst>
            <pc:docMk/>
            <pc:sldMk cId="262833566" sldId="627"/>
            <ac:spMk id="15" creationId="{6583825B-7FD6-2609-98DF-3E4DA1D0B929}"/>
          </ac:spMkLst>
        </pc:spChg>
        <pc:spChg chg="add mod">
          <ac:chgData name="Nivedha N A" userId="48795343-f4b0-4368-b9f1-c6e5f3910d48" providerId="ADAL" clId="{3E51CB64-41DE-4E99-AA61-015D66A9A29C}" dt="2025-09-08T09:20:00.380" v="7621" actId="1076"/>
          <ac:spMkLst>
            <pc:docMk/>
            <pc:sldMk cId="262833566" sldId="627"/>
            <ac:spMk id="16" creationId="{51C6F986-8997-196E-20ED-50BB51FB7166}"/>
          </ac:spMkLst>
        </pc:spChg>
        <pc:picChg chg="add mod">
          <ac:chgData name="Nivedha N A" userId="48795343-f4b0-4368-b9f1-c6e5f3910d48" providerId="ADAL" clId="{3E51CB64-41DE-4E99-AA61-015D66A9A29C}" dt="2025-09-08T09:20:14.866" v="7623" actId="1076"/>
          <ac:picMkLst>
            <pc:docMk/>
            <pc:sldMk cId="262833566" sldId="627"/>
            <ac:picMk id="8" creationId="{EEDE681D-C936-7869-C71C-24EF1A3341F2}"/>
          </ac:picMkLst>
        </pc:picChg>
        <pc:picChg chg="add mod">
          <ac:chgData name="Nivedha N A" userId="48795343-f4b0-4368-b9f1-c6e5f3910d48" providerId="ADAL" clId="{3E51CB64-41DE-4E99-AA61-015D66A9A29C}" dt="2025-09-08T09:17:46.289" v="7609" actId="1076"/>
          <ac:picMkLst>
            <pc:docMk/>
            <pc:sldMk cId="262833566" sldId="627"/>
            <ac:picMk id="14" creationId="{F44B44F0-05D7-FC48-C68E-323B39F305E3}"/>
          </ac:picMkLst>
        </pc:picChg>
        <pc:picChg chg="add mod">
          <ac:chgData name="Nivedha N A" userId="48795343-f4b0-4368-b9f1-c6e5f3910d48" providerId="ADAL" clId="{3E51CB64-41DE-4E99-AA61-015D66A9A29C}" dt="2025-09-08T09:22:41.295" v="7635" actId="14100"/>
          <ac:picMkLst>
            <pc:docMk/>
            <pc:sldMk cId="262833566" sldId="627"/>
            <ac:picMk id="18" creationId="{C7A8E023-1672-8FFB-92B2-4D56A4614FC5}"/>
          </ac:picMkLst>
        </pc:picChg>
      </pc:sldChg>
      <pc:sldChg chg="modSp add mod">
        <pc:chgData name="Nivedha N A" userId="48795343-f4b0-4368-b9f1-c6e5f3910d48" providerId="ADAL" clId="{3E51CB64-41DE-4E99-AA61-015D66A9A29C}" dt="2025-09-11T06:28:31.771" v="10991" actId="207"/>
        <pc:sldMkLst>
          <pc:docMk/>
          <pc:sldMk cId="3228269709" sldId="628"/>
        </pc:sldMkLst>
        <pc:spChg chg="mod">
          <ac:chgData name="Nivedha N A" userId="48795343-f4b0-4368-b9f1-c6e5f3910d48" providerId="ADAL" clId="{3E51CB64-41DE-4E99-AA61-015D66A9A29C}" dt="2025-09-11T06:28:31.771" v="10991" actId="207"/>
          <ac:spMkLst>
            <pc:docMk/>
            <pc:sldMk cId="3228269709" sldId="628"/>
            <ac:spMk id="5" creationId="{73253DD4-4571-8FC2-441E-740C051225E8}"/>
          </ac:spMkLst>
        </pc:spChg>
      </pc:sldChg>
      <pc:sldChg chg="addSp delSp modSp add mod">
        <pc:chgData name="Nivedha N A" userId="48795343-f4b0-4368-b9f1-c6e5f3910d48" providerId="ADAL" clId="{3E51CB64-41DE-4E99-AA61-015D66A9A29C}" dt="2025-09-10T11:41:24.304" v="10086" actId="1076"/>
        <pc:sldMkLst>
          <pc:docMk/>
          <pc:sldMk cId="1877202074" sldId="629"/>
        </pc:sldMkLst>
        <pc:spChg chg="mod">
          <ac:chgData name="Nivedha N A" userId="48795343-f4b0-4368-b9f1-c6e5f3910d48" providerId="ADAL" clId="{3E51CB64-41DE-4E99-AA61-015D66A9A29C}" dt="2025-09-10T11:12:24.827" v="9971" actId="20577"/>
          <ac:spMkLst>
            <pc:docMk/>
            <pc:sldMk cId="1877202074" sldId="629"/>
            <ac:spMk id="2" creationId="{0B3F685C-044A-014E-F218-69ED70EAC920}"/>
          </ac:spMkLst>
        </pc:spChg>
        <pc:spChg chg="mod">
          <ac:chgData name="Nivedha N A" userId="48795343-f4b0-4368-b9f1-c6e5f3910d48" providerId="ADAL" clId="{3E51CB64-41DE-4E99-AA61-015D66A9A29C}" dt="2025-09-08T10:04:16.241" v="8057" actId="20577"/>
          <ac:spMkLst>
            <pc:docMk/>
            <pc:sldMk cId="1877202074" sldId="629"/>
            <ac:spMk id="5" creationId="{41B62C56-9CEC-FB5E-6949-19553E1399AD}"/>
          </ac:spMkLst>
        </pc:spChg>
        <pc:spChg chg="mod">
          <ac:chgData name="Nivedha N A" userId="48795343-f4b0-4368-b9f1-c6e5f3910d48" providerId="ADAL" clId="{3E51CB64-41DE-4E99-AA61-015D66A9A29C}" dt="2025-09-08T10:14:33.184" v="8203" actId="20577"/>
          <ac:spMkLst>
            <pc:docMk/>
            <pc:sldMk cId="1877202074" sldId="629"/>
            <ac:spMk id="11" creationId="{7F9BD304-D463-E596-7464-F48D1041CFF4}"/>
          </ac:spMkLst>
        </pc:spChg>
        <pc:spChg chg="add mod">
          <ac:chgData name="Nivedha N A" userId="48795343-f4b0-4368-b9f1-c6e5f3910d48" providerId="ADAL" clId="{3E51CB64-41DE-4E99-AA61-015D66A9A29C}" dt="2025-09-10T11:35:51.571" v="10078" actId="20577"/>
          <ac:spMkLst>
            <pc:docMk/>
            <pc:sldMk cId="1877202074" sldId="629"/>
            <ac:spMk id="13" creationId="{E4939685-1255-3884-BEE5-4D538F1A6C21}"/>
          </ac:spMkLst>
        </pc:spChg>
        <pc:picChg chg="add mod">
          <ac:chgData name="Nivedha N A" userId="48795343-f4b0-4368-b9f1-c6e5f3910d48" providerId="ADAL" clId="{3E51CB64-41DE-4E99-AA61-015D66A9A29C}" dt="2025-09-08T09:54:21.400" v="8014" actId="1076"/>
          <ac:picMkLst>
            <pc:docMk/>
            <pc:sldMk cId="1877202074" sldId="629"/>
            <ac:picMk id="7" creationId="{1170F09E-C054-3F10-C792-A89E8890E244}"/>
          </ac:picMkLst>
        </pc:picChg>
        <pc:picChg chg="add del mod">
          <ac:chgData name="Nivedha N A" userId="48795343-f4b0-4368-b9f1-c6e5f3910d48" providerId="ADAL" clId="{3E51CB64-41DE-4E99-AA61-015D66A9A29C}" dt="2025-09-10T11:38:14.946" v="10083" actId="21"/>
          <ac:picMkLst>
            <pc:docMk/>
            <pc:sldMk cId="1877202074" sldId="629"/>
            <ac:picMk id="8" creationId="{174B3417-5EA5-A8D1-FA39-DB9A6DAAFE5F}"/>
          </ac:picMkLst>
        </pc:picChg>
        <pc:picChg chg="add mod">
          <ac:chgData name="Nivedha N A" userId="48795343-f4b0-4368-b9f1-c6e5f3910d48" providerId="ADAL" clId="{3E51CB64-41DE-4E99-AA61-015D66A9A29C}" dt="2025-09-08T10:04:07.112" v="8040" actId="1076"/>
          <ac:picMkLst>
            <pc:docMk/>
            <pc:sldMk cId="1877202074" sldId="629"/>
            <ac:picMk id="12" creationId="{60961284-4196-04C4-214B-B23C7C1BD3FE}"/>
          </ac:picMkLst>
        </pc:picChg>
        <pc:picChg chg="add mod">
          <ac:chgData name="Nivedha N A" userId="48795343-f4b0-4368-b9f1-c6e5f3910d48" providerId="ADAL" clId="{3E51CB64-41DE-4E99-AA61-015D66A9A29C}" dt="2025-09-10T11:41:24.304" v="10086" actId="1076"/>
          <ac:picMkLst>
            <pc:docMk/>
            <pc:sldMk cId="1877202074" sldId="629"/>
            <ac:picMk id="14" creationId="{520B4799-C5F5-0562-FF43-DC132FEA0010}"/>
          </ac:picMkLst>
        </pc:picChg>
        <pc:picChg chg="add mod">
          <ac:chgData name="Nivedha N A" userId="48795343-f4b0-4368-b9f1-c6e5f3910d48" providerId="ADAL" clId="{3E51CB64-41DE-4E99-AA61-015D66A9A29C}" dt="2025-09-08T10:08:41.374" v="8137" actId="14100"/>
          <ac:picMkLst>
            <pc:docMk/>
            <pc:sldMk cId="1877202074" sldId="629"/>
            <ac:picMk id="15" creationId="{81EE692B-CC04-47A0-231E-202920790249}"/>
          </ac:picMkLst>
        </pc:picChg>
        <pc:picChg chg="add mod">
          <ac:chgData name="Nivedha N A" userId="48795343-f4b0-4368-b9f1-c6e5f3910d48" providerId="ADAL" clId="{3E51CB64-41DE-4E99-AA61-015D66A9A29C}" dt="2025-09-08T10:08:47.423" v="8138" actId="14100"/>
          <ac:picMkLst>
            <pc:docMk/>
            <pc:sldMk cId="1877202074" sldId="629"/>
            <ac:picMk id="18" creationId="{6C104DB5-322D-839C-24E8-10C67FCBB775}"/>
          </ac:picMkLst>
        </pc:picChg>
        <pc:picChg chg="add del mod">
          <ac:chgData name="Nivedha N A" userId="48795343-f4b0-4368-b9f1-c6e5f3910d48" providerId="ADAL" clId="{3E51CB64-41DE-4E99-AA61-015D66A9A29C}" dt="2025-09-10T11:35:55.865" v="10079" actId="21"/>
          <ac:picMkLst>
            <pc:docMk/>
            <pc:sldMk cId="1877202074" sldId="629"/>
            <ac:picMk id="20" creationId="{84BE1E59-B931-096B-F6C3-48767DBCC47B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10T11:12:28.445" v="9972" actId="20577"/>
        <pc:sldMkLst>
          <pc:docMk/>
          <pc:sldMk cId="1688732546" sldId="630"/>
        </pc:sldMkLst>
        <pc:spChg chg="mod">
          <ac:chgData name="Nivedha N A" userId="48795343-f4b0-4368-b9f1-c6e5f3910d48" providerId="ADAL" clId="{3E51CB64-41DE-4E99-AA61-015D66A9A29C}" dt="2025-09-10T11:12:28.445" v="9972" actId="20577"/>
          <ac:spMkLst>
            <pc:docMk/>
            <pc:sldMk cId="1688732546" sldId="630"/>
            <ac:spMk id="2" creationId="{AE051B03-08B8-3912-4371-12F312084A14}"/>
          </ac:spMkLst>
        </pc:spChg>
        <pc:spChg chg="mod">
          <ac:chgData name="Nivedha N A" userId="48795343-f4b0-4368-b9f1-c6e5f3910d48" providerId="ADAL" clId="{3E51CB64-41DE-4E99-AA61-015D66A9A29C}" dt="2025-09-08T10:16:55.486" v="8297" actId="20577"/>
          <ac:spMkLst>
            <pc:docMk/>
            <pc:sldMk cId="1688732546" sldId="630"/>
            <ac:spMk id="11" creationId="{4E49C9AB-FC67-A35A-A420-D2B7549D5DB7}"/>
          </ac:spMkLst>
        </pc:spChg>
        <pc:spChg chg="mod">
          <ac:chgData name="Nivedha N A" userId="48795343-f4b0-4368-b9f1-c6e5f3910d48" providerId="ADAL" clId="{3E51CB64-41DE-4E99-AA61-015D66A9A29C}" dt="2025-09-08T10:24:46.541" v="8467" actId="20577"/>
          <ac:spMkLst>
            <pc:docMk/>
            <pc:sldMk cId="1688732546" sldId="630"/>
            <ac:spMk id="13" creationId="{CD6A9CDD-613E-A3EA-E8AA-BC0A97387787}"/>
          </ac:spMkLst>
        </pc:spChg>
        <pc:picChg chg="add mod">
          <ac:chgData name="Nivedha N A" userId="48795343-f4b0-4368-b9f1-c6e5f3910d48" providerId="ADAL" clId="{3E51CB64-41DE-4E99-AA61-015D66A9A29C}" dt="2025-09-08T10:14:34.453" v="8204" actId="1076"/>
          <ac:picMkLst>
            <pc:docMk/>
            <pc:sldMk cId="1688732546" sldId="630"/>
            <ac:picMk id="8" creationId="{25F538D5-FD4D-B10C-C303-650C5EB53B09}"/>
          </ac:picMkLst>
        </pc:picChg>
        <pc:picChg chg="add mod">
          <ac:chgData name="Nivedha N A" userId="48795343-f4b0-4368-b9f1-c6e5f3910d48" providerId="ADAL" clId="{3E51CB64-41DE-4E99-AA61-015D66A9A29C}" dt="2025-09-08T10:16:59.327" v="8298" actId="1076"/>
          <ac:picMkLst>
            <pc:docMk/>
            <pc:sldMk cId="1688732546" sldId="630"/>
            <ac:picMk id="14" creationId="{F89A2FAE-2516-1BBA-F67A-0FB477D60813}"/>
          </ac:picMkLst>
        </pc:picChg>
        <pc:picChg chg="add mod">
          <ac:chgData name="Nivedha N A" userId="48795343-f4b0-4368-b9f1-c6e5f3910d48" providerId="ADAL" clId="{3E51CB64-41DE-4E99-AA61-015D66A9A29C}" dt="2025-09-08T10:25:31.629" v="8470" actId="1076"/>
          <ac:picMkLst>
            <pc:docMk/>
            <pc:sldMk cId="1688732546" sldId="630"/>
            <ac:picMk id="17" creationId="{E66E344E-0636-0953-3DA1-26272389336F}"/>
          </ac:picMkLst>
        </pc:picChg>
        <pc:picChg chg="add mod">
          <ac:chgData name="Nivedha N A" userId="48795343-f4b0-4368-b9f1-c6e5f3910d48" providerId="ADAL" clId="{3E51CB64-41DE-4E99-AA61-015D66A9A29C}" dt="2025-09-08T10:25:25.839" v="8469" actId="1076"/>
          <ac:picMkLst>
            <pc:docMk/>
            <pc:sldMk cId="1688732546" sldId="630"/>
            <ac:picMk id="21" creationId="{556C7556-C6B5-62DF-5261-42C94F2883E2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10T13:18:12.844" v="10486" actId="14100"/>
        <pc:sldMkLst>
          <pc:docMk/>
          <pc:sldMk cId="2749008858" sldId="631"/>
        </pc:sldMkLst>
        <pc:spChg chg="mod">
          <ac:chgData name="Nivedha N A" userId="48795343-f4b0-4368-b9f1-c6e5f3910d48" providerId="ADAL" clId="{3E51CB64-41DE-4E99-AA61-015D66A9A29C}" dt="2025-09-10T11:12:32.485" v="9973" actId="20577"/>
          <ac:spMkLst>
            <pc:docMk/>
            <pc:sldMk cId="2749008858" sldId="631"/>
            <ac:spMk id="2" creationId="{11498B0D-BC51-D2E6-0156-0167D0C231A6}"/>
          </ac:spMkLst>
        </pc:spChg>
        <pc:spChg chg="mod">
          <ac:chgData name="Nivedha N A" userId="48795343-f4b0-4368-b9f1-c6e5f3910d48" providerId="ADAL" clId="{3E51CB64-41DE-4E99-AA61-015D66A9A29C}" dt="2025-09-08T11:19:21.267" v="8596" actId="20577"/>
          <ac:spMkLst>
            <pc:docMk/>
            <pc:sldMk cId="2749008858" sldId="631"/>
            <ac:spMk id="11" creationId="{41A4CA75-4BFE-6FDC-0FE7-9F8B4F2BB39B}"/>
          </ac:spMkLst>
        </pc:spChg>
        <pc:spChg chg="mod">
          <ac:chgData name="Nivedha N A" userId="48795343-f4b0-4368-b9f1-c6e5f3910d48" providerId="ADAL" clId="{3E51CB64-41DE-4E99-AA61-015D66A9A29C}" dt="2025-09-10T12:50:00.026" v="10428" actId="113"/>
          <ac:spMkLst>
            <pc:docMk/>
            <pc:sldMk cId="2749008858" sldId="631"/>
            <ac:spMk id="13" creationId="{E0CF5F1A-591B-E4BE-11E6-D53DB0ED1199}"/>
          </ac:spMkLst>
        </pc:spChg>
        <pc:picChg chg="add mod">
          <ac:chgData name="Nivedha N A" userId="48795343-f4b0-4368-b9f1-c6e5f3910d48" providerId="ADAL" clId="{3E51CB64-41DE-4E99-AA61-015D66A9A29C}" dt="2025-09-08T11:10:59.799" v="8517" actId="1076"/>
          <ac:picMkLst>
            <pc:docMk/>
            <pc:sldMk cId="2749008858" sldId="631"/>
            <ac:picMk id="7" creationId="{B6623567-1CC0-64A5-34EA-BD3C2F378414}"/>
          </ac:picMkLst>
        </pc:picChg>
        <pc:picChg chg="add mod">
          <ac:chgData name="Nivedha N A" userId="48795343-f4b0-4368-b9f1-c6e5f3910d48" providerId="ADAL" clId="{3E51CB64-41DE-4E99-AA61-015D66A9A29C}" dt="2025-09-10T12:51:33.557" v="10431" actId="1076"/>
          <ac:picMkLst>
            <pc:docMk/>
            <pc:sldMk cId="2749008858" sldId="631"/>
            <ac:picMk id="8" creationId="{593BCE12-071C-9ACF-A7DF-BE6125FEC52C}"/>
          </ac:picMkLst>
        </pc:picChg>
        <pc:picChg chg="add mod">
          <ac:chgData name="Nivedha N A" userId="48795343-f4b0-4368-b9f1-c6e5f3910d48" providerId="ADAL" clId="{3E51CB64-41DE-4E99-AA61-015D66A9A29C}" dt="2025-09-10T13:18:02.304" v="10484" actId="14100"/>
          <ac:picMkLst>
            <pc:docMk/>
            <pc:sldMk cId="2749008858" sldId="631"/>
            <ac:picMk id="12" creationId="{6F5FA63D-C33F-450F-4B10-BE2255B39372}"/>
          </ac:picMkLst>
        </pc:picChg>
        <pc:picChg chg="add mod">
          <ac:chgData name="Nivedha N A" userId="48795343-f4b0-4368-b9f1-c6e5f3910d48" providerId="ADAL" clId="{3E51CB64-41DE-4E99-AA61-015D66A9A29C}" dt="2025-09-10T13:18:12.844" v="10486" actId="14100"/>
          <ac:picMkLst>
            <pc:docMk/>
            <pc:sldMk cId="2749008858" sldId="631"/>
            <ac:picMk id="14" creationId="{DCC6D02A-C259-AB9A-5CBA-5B02D22CA66A}"/>
          </ac:picMkLst>
        </pc:picChg>
        <pc:picChg chg="add mod">
          <ac:chgData name="Nivedha N A" userId="48795343-f4b0-4368-b9f1-c6e5f3910d48" providerId="ADAL" clId="{3E51CB64-41DE-4E99-AA61-015D66A9A29C}" dt="2025-09-08T11:15:59.854" v="8575" actId="1076"/>
          <ac:picMkLst>
            <pc:docMk/>
            <pc:sldMk cId="2749008858" sldId="631"/>
            <ac:picMk id="16" creationId="{46BBA780-A640-31AF-0A02-6E48B97F927D}"/>
          </ac:picMkLst>
        </pc:picChg>
        <pc:picChg chg="add mod">
          <ac:chgData name="Nivedha N A" userId="48795343-f4b0-4368-b9f1-c6e5f3910d48" providerId="ADAL" clId="{3E51CB64-41DE-4E99-AA61-015D66A9A29C}" dt="2025-09-08T11:17:01.069" v="8581" actId="14100"/>
          <ac:picMkLst>
            <pc:docMk/>
            <pc:sldMk cId="2749008858" sldId="631"/>
            <ac:picMk id="19" creationId="{DD02E010-8535-A790-0900-50F255D61D43}"/>
          </ac:picMkLst>
        </pc:picChg>
        <pc:picChg chg="add del mod">
          <ac:chgData name="Nivedha N A" userId="48795343-f4b0-4368-b9f1-c6e5f3910d48" providerId="ADAL" clId="{3E51CB64-41DE-4E99-AA61-015D66A9A29C}" dt="2025-09-10T12:50:03.139" v="10429" actId="21"/>
          <ac:picMkLst>
            <pc:docMk/>
            <pc:sldMk cId="2749008858" sldId="631"/>
            <ac:picMk id="22" creationId="{D9B8FDF3-EB54-5760-720E-E12C3E2F5690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11T08:55:38.132" v="11120" actId="20577"/>
        <pc:sldMkLst>
          <pc:docMk/>
          <pc:sldMk cId="2294876893" sldId="632"/>
        </pc:sldMkLst>
        <pc:spChg chg="mod">
          <ac:chgData name="Nivedha N A" userId="48795343-f4b0-4368-b9f1-c6e5f3910d48" providerId="ADAL" clId="{3E51CB64-41DE-4E99-AA61-015D66A9A29C}" dt="2025-09-10T11:12:36.851" v="9974" actId="20577"/>
          <ac:spMkLst>
            <pc:docMk/>
            <pc:sldMk cId="2294876893" sldId="632"/>
            <ac:spMk id="2" creationId="{A7CEF13E-AFF4-0749-FD63-600F3D73ADF0}"/>
          </ac:spMkLst>
        </pc:spChg>
        <pc:spChg chg="mod">
          <ac:chgData name="Nivedha N A" userId="48795343-f4b0-4368-b9f1-c6e5f3910d48" providerId="ADAL" clId="{3E51CB64-41DE-4E99-AA61-015D66A9A29C}" dt="2025-09-08T11:24:22.295" v="8741" actId="5793"/>
          <ac:spMkLst>
            <pc:docMk/>
            <pc:sldMk cId="2294876893" sldId="632"/>
            <ac:spMk id="11" creationId="{C65D5B3F-40E7-E39F-0511-EAB5BDF6A5D5}"/>
          </ac:spMkLst>
        </pc:spChg>
        <pc:spChg chg="mod">
          <ac:chgData name="Nivedha N A" userId="48795343-f4b0-4368-b9f1-c6e5f3910d48" providerId="ADAL" clId="{3E51CB64-41DE-4E99-AA61-015D66A9A29C}" dt="2025-09-11T08:55:38.132" v="11120" actId="20577"/>
          <ac:spMkLst>
            <pc:docMk/>
            <pc:sldMk cId="2294876893" sldId="632"/>
            <ac:spMk id="13" creationId="{52E52B72-4758-CC8D-D18A-AEC0CE0288B0}"/>
          </ac:spMkLst>
        </pc:spChg>
        <pc:picChg chg="add del mod">
          <ac:chgData name="Nivedha N A" userId="48795343-f4b0-4368-b9f1-c6e5f3910d48" providerId="ADAL" clId="{3E51CB64-41DE-4E99-AA61-015D66A9A29C}" dt="2025-09-10T13:13:37.438" v="10463" actId="21"/>
          <ac:picMkLst>
            <pc:docMk/>
            <pc:sldMk cId="2294876893" sldId="632"/>
            <ac:picMk id="7" creationId="{0C38FCA5-EA9B-F911-4B9B-A41CC5356149}"/>
          </ac:picMkLst>
        </pc:picChg>
        <pc:picChg chg="add mod">
          <ac:chgData name="Nivedha N A" userId="48795343-f4b0-4368-b9f1-c6e5f3910d48" providerId="ADAL" clId="{3E51CB64-41DE-4E99-AA61-015D66A9A29C}" dt="2025-09-08T11:26:41.892" v="8832" actId="14100"/>
          <ac:picMkLst>
            <pc:docMk/>
            <pc:sldMk cId="2294876893" sldId="632"/>
            <ac:picMk id="8" creationId="{7FEB8C8D-735C-519D-F0FF-BD897F1B23DD}"/>
          </ac:picMkLst>
        </pc:picChg>
        <pc:picChg chg="add mod">
          <ac:chgData name="Nivedha N A" userId="48795343-f4b0-4368-b9f1-c6e5f3910d48" providerId="ADAL" clId="{3E51CB64-41DE-4E99-AA61-015D66A9A29C}" dt="2025-09-10T13:14:14.273" v="10474" actId="14100"/>
          <ac:picMkLst>
            <pc:docMk/>
            <pc:sldMk cId="2294876893" sldId="632"/>
            <ac:picMk id="12" creationId="{9F5027E2-5B79-6067-EC73-610DD58E2D87}"/>
          </ac:picMkLst>
        </pc:picChg>
        <pc:picChg chg="add mod">
          <ac:chgData name="Nivedha N A" userId="48795343-f4b0-4368-b9f1-c6e5f3910d48" providerId="ADAL" clId="{3E51CB64-41DE-4E99-AA61-015D66A9A29C}" dt="2025-09-10T13:04:18.804" v="10439" actId="1076"/>
          <ac:picMkLst>
            <pc:docMk/>
            <pc:sldMk cId="2294876893" sldId="632"/>
            <ac:picMk id="14" creationId="{1AA6E322-39A5-98AB-7A50-25BCAFDEF49D}"/>
          </ac:picMkLst>
        </pc:picChg>
      </pc:sldChg>
      <pc:sldChg chg="modSp add mod">
        <pc:chgData name="Nivedha N A" userId="48795343-f4b0-4368-b9f1-c6e5f3910d48" providerId="ADAL" clId="{3E51CB64-41DE-4E99-AA61-015D66A9A29C}" dt="2025-09-10T13:19:49.768" v="10488" actId="14100"/>
        <pc:sldMkLst>
          <pc:docMk/>
          <pc:sldMk cId="949676655" sldId="633"/>
        </pc:sldMkLst>
        <pc:spChg chg="mod">
          <ac:chgData name="Nivedha N A" userId="48795343-f4b0-4368-b9f1-c6e5f3910d48" providerId="ADAL" clId="{3E51CB64-41DE-4E99-AA61-015D66A9A29C}" dt="2025-09-10T13:19:49.768" v="10488" actId="14100"/>
          <ac:spMkLst>
            <pc:docMk/>
            <pc:sldMk cId="949676655" sldId="633"/>
            <ac:spMk id="5" creationId="{7592BA40-A5DC-81D8-17F4-66F42D2232D7}"/>
          </ac:spMkLst>
        </pc:spChg>
      </pc:sldChg>
      <pc:sldChg chg="addSp delSp modSp add mod">
        <pc:chgData name="Nivedha N A" userId="48795343-f4b0-4368-b9f1-c6e5f3910d48" providerId="ADAL" clId="{3E51CB64-41DE-4E99-AA61-015D66A9A29C}" dt="2025-09-11T05:54:19.666" v="10976"/>
        <pc:sldMkLst>
          <pc:docMk/>
          <pc:sldMk cId="3104783768" sldId="634"/>
        </pc:sldMkLst>
        <pc:spChg chg="mod">
          <ac:chgData name="Nivedha N A" userId="48795343-f4b0-4368-b9f1-c6e5f3910d48" providerId="ADAL" clId="{3E51CB64-41DE-4E99-AA61-015D66A9A29C}" dt="2025-09-11T05:54:19.666" v="10976"/>
          <ac:spMkLst>
            <pc:docMk/>
            <pc:sldMk cId="3104783768" sldId="634"/>
            <ac:spMk id="3" creationId="{CFAAA102-AA20-F1D3-F950-40B708E9D999}"/>
          </ac:spMkLst>
        </pc:spChg>
        <pc:spChg chg="mod">
          <ac:chgData name="Nivedha N A" userId="48795343-f4b0-4368-b9f1-c6e5f3910d48" providerId="ADAL" clId="{3E51CB64-41DE-4E99-AA61-015D66A9A29C}" dt="2025-09-08T12:34:43.658" v="8892" actId="20577"/>
          <ac:spMkLst>
            <pc:docMk/>
            <pc:sldMk cId="3104783768" sldId="634"/>
            <ac:spMk id="5" creationId="{E52D6088-3FBC-0DC1-DDF9-C5B13A7AFDE8}"/>
          </ac:spMkLst>
        </pc:spChg>
        <pc:spChg chg="mod">
          <ac:chgData name="Nivedha N A" userId="48795343-f4b0-4368-b9f1-c6e5f3910d48" providerId="ADAL" clId="{3E51CB64-41DE-4E99-AA61-015D66A9A29C}" dt="2025-09-08T12:37:01.598" v="8927" actId="14100"/>
          <ac:spMkLst>
            <pc:docMk/>
            <pc:sldMk cId="3104783768" sldId="634"/>
            <ac:spMk id="8" creationId="{A6EA082C-3335-7A81-A1B2-E4762C5EA617}"/>
          </ac:spMkLst>
        </pc:spChg>
        <pc:picChg chg="add mod">
          <ac:chgData name="Nivedha N A" userId="48795343-f4b0-4368-b9f1-c6e5f3910d48" providerId="ADAL" clId="{3E51CB64-41DE-4E99-AA61-015D66A9A29C}" dt="2025-09-08T12:40:08.592" v="8939" actId="1076"/>
          <ac:picMkLst>
            <pc:docMk/>
            <pc:sldMk cId="3104783768" sldId="634"/>
            <ac:picMk id="10" creationId="{817D4A34-7D94-721A-187D-2F96C8E82FF3}"/>
          </ac:picMkLst>
        </pc:picChg>
      </pc:sldChg>
      <pc:sldChg chg="delSp modSp add del mod">
        <pc:chgData name="Nivedha N A" userId="48795343-f4b0-4368-b9f1-c6e5f3910d48" providerId="ADAL" clId="{3E51CB64-41DE-4E99-AA61-015D66A9A29C}" dt="2025-09-08T12:47:45.436" v="8941" actId="2696"/>
        <pc:sldMkLst>
          <pc:docMk/>
          <pc:sldMk cId="1666222773" sldId="635"/>
        </pc:sldMkLst>
      </pc:sldChg>
      <pc:sldChg chg="addSp delSp modSp add del mod modClrScheme chgLayout">
        <pc:chgData name="Nivedha N A" userId="48795343-f4b0-4368-b9f1-c6e5f3910d48" providerId="ADAL" clId="{3E51CB64-41DE-4E99-AA61-015D66A9A29C}" dt="2025-09-08T14:11:54.677" v="9163" actId="2696"/>
        <pc:sldMkLst>
          <pc:docMk/>
          <pc:sldMk cId="2683592134" sldId="636"/>
        </pc:sldMkLst>
      </pc:sldChg>
      <pc:sldChg chg="addSp delSp modSp add mod ord">
        <pc:chgData name="Nivedha N A" userId="48795343-f4b0-4368-b9f1-c6e5f3910d48" providerId="ADAL" clId="{3E51CB64-41DE-4E99-AA61-015D66A9A29C}" dt="2025-09-08T14:11:46.711" v="9162" actId="1076"/>
        <pc:sldMkLst>
          <pc:docMk/>
          <pc:sldMk cId="3262752353" sldId="637"/>
        </pc:sldMkLst>
        <pc:spChg chg="mod">
          <ac:chgData name="Nivedha N A" userId="48795343-f4b0-4368-b9f1-c6e5f3910d48" providerId="ADAL" clId="{3E51CB64-41DE-4E99-AA61-015D66A9A29C}" dt="2025-09-08T14:11:42.866" v="9161"/>
          <ac:spMkLst>
            <pc:docMk/>
            <pc:sldMk cId="3262752353" sldId="637"/>
            <ac:spMk id="2" creationId="{84C2CAFA-0998-ED48-B467-FAE3AFC4FD5F}"/>
          </ac:spMkLst>
        </pc:spChg>
        <pc:picChg chg="add mod">
          <ac:chgData name="Nivedha N A" userId="48795343-f4b0-4368-b9f1-c6e5f3910d48" providerId="ADAL" clId="{3E51CB64-41DE-4E99-AA61-015D66A9A29C}" dt="2025-09-08T14:11:46.711" v="9162" actId="1076"/>
          <ac:picMkLst>
            <pc:docMk/>
            <pc:sldMk cId="3262752353" sldId="637"/>
            <ac:picMk id="5" creationId="{F1F657B8-07A5-D205-A647-2CFFC46F49C5}"/>
          </ac:picMkLst>
        </pc:picChg>
        <pc:picChg chg="add mod">
          <ac:chgData name="Nivedha N A" userId="48795343-f4b0-4368-b9f1-c6e5f3910d48" providerId="ADAL" clId="{3E51CB64-41DE-4E99-AA61-015D66A9A29C}" dt="2025-09-08T14:11:32.047" v="9160" actId="1076"/>
          <ac:picMkLst>
            <pc:docMk/>
            <pc:sldMk cId="3262752353" sldId="637"/>
            <ac:picMk id="6" creationId="{0C132E9F-0E93-2437-DEF9-B9B41FBE15B3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14:18:54.796" v="9464" actId="1076"/>
        <pc:sldMkLst>
          <pc:docMk/>
          <pc:sldMk cId="270885347" sldId="638"/>
        </pc:sldMkLst>
        <pc:spChg chg="mod">
          <ac:chgData name="Nivedha N A" userId="48795343-f4b0-4368-b9f1-c6e5f3910d48" providerId="ADAL" clId="{3E51CB64-41DE-4E99-AA61-015D66A9A29C}" dt="2025-09-08T14:13:54.052" v="9198" actId="20577"/>
          <ac:spMkLst>
            <pc:docMk/>
            <pc:sldMk cId="270885347" sldId="638"/>
            <ac:spMk id="2" creationId="{112A7DF6-689E-CC64-68FC-F89834E1FEE8}"/>
          </ac:spMkLst>
        </pc:spChg>
        <pc:spChg chg="add mod">
          <ac:chgData name="Nivedha N A" userId="48795343-f4b0-4368-b9f1-c6e5f3910d48" providerId="ADAL" clId="{3E51CB64-41DE-4E99-AA61-015D66A9A29C}" dt="2025-09-08T14:18:54.796" v="9464" actId="1076"/>
          <ac:spMkLst>
            <pc:docMk/>
            <pc:sldMk cId="270885347" sldId="638"/>
            <ac:spMk id="8" creationId="{F508D5E6-CF54-DB54-CC08-3B04F1476351}"/>
          </ac:spMkLst>
        </pc:spChg>
        <pc:picChg chg="add mod">
          <ac:chgData name="Nivedha N A" userId="48795343-f4b0-4368-b9f1-c6e5f3910d48" providerId="ADAL" clId="{3E51CB64-41DE-4E99-AA61-015D66A9A29C}" dt="2025-09-08T14:18:54.397" v="9463" actId="1076"/>
          <ac:picMkLst>
            <pc:docMk/>
            <pc:sldMk cId="270885347" sldId="638"/>
            <ac:picMk id="10" creationId="{7014A6C7-BB51-0675-65EA-7D54C573309D}"/>
          </ac:picMkLst>
        </pc:picChg>
      </pc:sldChg>
      <pc:sldChg chg="modSp add mod">
        <pc:chgData name="Nivedha N A" userId="48795343-f4b0-4368-b9f1-c6e5f3910d48" providerId="ADAL" clId="{3E51CB64-41DE-4E99-AA61-015D66A9A29C}" dt="2025-09-11T05:54:27.207" v="10977"/>
        <pc:sldMkLst>
          <pc:docMk/>
          <pc:sldMk cId="544723319" sldId="639"/>
        </pc:sldMkLst>
        <pc:spChg chg="mod">
          <ac:chgData name="Nivedha N A" userId="48795343-f4b0-4368-b9f1-c6e5f3910d48" providerId="ADAL" clId="{3E51CB64-41DE-4E99-AA61-015D66A9A29C}" dt="2025-09-11T05:54:27.207" v="10977"/>
          <ac:spMkLst>
            <pc:docMk/>
            <pc:sldMk cId="544723319" sldId="639"/>
            <ac:spMk id="3" creationId="{5BDCED23-2B18-1094-55ED-01CB11E3BF6C}"/>
          </ac:spMkLst>
        </pc:spChg>
        <pc:spChg chg="mod">
          <ac:chgData name="Nivedha N A" userId="48795343-f4b0-4368-b9f1-c6e5f3910d48" providerId="ADAL" clId="{3E51CB64-41DE-4E99-AA61-015D66A9A29C}" dt="2025-09-10T11:58:11.256" v="10154" actId="20577"/>
          <ac:spMkLst>
            <pc:docMk/>
            <pc:sldMk cId="544723319" sldId="639"/>
            <ac:spMk id="4" creationId="{7AAD1A6E-E19F-868E-2E7B-2F871CF0AA5D}"/>
          </ac:spMkLst>
        </pc:spChg>
      </pc:sldChg>
      <pc:sldChg chg="addSp delSp modSp add mod">
        <pc:chgData name="Nivedha N A" userId="48795343-f4b0-4368-b9f1-c6e5f3910d48" providerId="ADAL" clId="{3E51CB64-41DE-4E99-AA61-015D66A9A29C}" dt="2025-09-11T05:59:43.517" v="10988" actId="113"/>
        <pc:sldMkLst>
          <pc:docMk/>
          <pc:sldMk cId="430952906" sldId="640"/>
        </pc:sldMkLst>
        <pc:spChg chg="mod">
          <ac:chgData name="Nivedha N A" userId="48795343-f4b0-4368-b9f1-c6e5f3910d48" providerId="ADAL" clId="{3E51CB64-41DE-4E99-AA61-015D66A9A29C}" dt="2025-09-11T05:54:32.456" v="10978"/>
          <ac:spMkLst>
            <pc:docMk/>
            <pc:sldMk cId="430952906" sldId="640"/>
            <ac:spMk id="3" creationId="{B9345973-3948-1BB5-D481-EFBC81207AE0}"/>
          </ac:spMkLst>
        </pc:spChg>
        <pc:spChg chg="mod">
          <ac:chgData name="Nivedha N A" userId="48795343-f4b0-4368-b9f1-c6e5f3910d48" providerId="ADAL" clId="{3E51CB64-41DE-4E99-AA61-015D66A9A29C}" dt="2025-09-10T13:24:29.280" v="10631" actId="20577"/>
          <ac:spMkLst>
            <pc:docMk/>
            <pc:sldMk cId="430952906" sldId="640"/>
            <ac:spMk id="5" creationId="{D7323112-CE58-04E6-5877-FDA525ADD9F8}"/>
          </ac:spMkLst>
        </pc:spChg>
        <pc:spChg chg="mod">
          <ac:chgData name="Nivedha N A" userId="48795343-f4b0-4368-b9f1-c6e5f3910d48" providerId="ADAL" clId="{3E51CB64-41DE-4E99-AA61-015D66A9A29C}" dt="2025-09-11T05:59:43.517" v="10988" actId="113"/>
          <ac:spMkLst>
            <pc:docMk/>
            <pc:sldMk cId="430952906" sldId="640"/>
            <ac:spMk id="8" creationId="{6A863D29-6C8A-BCD8-3577-0F401E027CAE}"/>
          </ac:spMkLst>
        </pc:spChg>
        <pc:picChg chg="add mod">
          <ac:chgData name="Nivedha N A" userId="48795343-f4b0-4368-b9f1-c6e5f3910d48" providerId="ADAL" clId="{3E51CB64-41DE-4E99-AA61-015D66A9A29C}" dt="2025-09-10T11:58:06.819" v="10147" actId="14100"/>
          <ac:picMkLst>
            <pc:docMk/>
            <pc:sldMk cId="430952906" sldId="640"/>
            <ac:picMk id="7" creationId="{5FB09856-7FCA-4DE3-CED7-3C4A21B2A344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11T05:54:36.419" v="10979"/>
        <pc:sldMkLst>
          <pc:docMk/>
          <pc:sldMk cId="3700266237" sldId="641"/>
        </pc:sldMkLst>
        <pc:spChg chg="mod">
          <ac:chgData name="Nivedha N A" userId="48795343-f4b0-4368-b9f1-c6e5f3910d48" providerId="ADAL" clId="{3E51CB64-41DE-4E99-AA61-015D66A9A29C}" dt="2025-09-11T05:54:36.419" v="10979"/>
          <ac:spMkLst>
            <pc:docMk/>
            <pc:sldMk cId="3700266237" sldId="641"/>
            <ac:spMk id="3" creationId="{C990FFE4-513F-BC6B-94D5-0D05DD66118B}"/>
          </ac:spMkLst>
        </pc:spChg>
        <pc:spChg chg="mod">
          <ac:chgData name="Nivedha N A" userId="48795343-f4b0-4368-b9f1-c6e5f3910d48" providerId="ADAL" clId="{3E51CB64-41DE-4E99-AA61-015D66A9A29C}" dt="2025-09-09T05:12:40.706" v="9505"/>
          <ac:spMkLst>
            <pc:docMk/>
            <pc:sldMk cId="3700266237" sldId="641"/>
            <ac:spMk id="5" creationId="{69EB3442-18D9-E6CF-83B3-23B66F9D7B98}"/>
          </ac:spMkLst>
        </pc:spChg>
        <pc:spChg chg="mod">
          <ac:chgData name="Nivedha N A" userId="48795343-f4b0-4368-b9f1-c6e5f3910d48" providerId="ADAL" clId="{3E51CB64-41DE-4E99-AA61-015D66A9A29C}" dt="2025-09-09T05:14:40.544" v="9665"/>
          <ac:spMkLst>
            <pc:docMk/>
            <pc:sldMk cId="3700266237" sldId="641"/>
            <ac:spMk id="8" creationId="{53F002FC-06A7-46A4-ED95-9C209CF25208}"/>
          </ac:spMkLst>
        </pc:spChg>
        <pc:picChg chg="add mod">
          <ac:chgData name="Nivedha N A" userId="48795343-f4b0-4368-b9f1-c6e5f3910d48" providerId="ADAL" clId="{3E51CB64-41DE-4E99-AA61-015D66A9A29C}" dt="2025-09-09T05:14:45.282" v="9666" actId="1076"/>
          <ac:picMkLst>
            <pc:docMk/>
            <pc:sldMk cId="3700266237" sldId="641"/>
            <ac:picMk id="9" creationId="{FE46E5DF-116F-F3CC-D365-9FA4805AE417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11T05:59:28.611" v="10987" actId="113"/>
        <pc:sldMkLst>
          <pc:docMk/>
          <pc:sldMk cId="3944282946" sldId="642"/>
        </pc:sldMkLst>
        <pc:spChg chg="mod">
          <ac:chgData name="Nivedha N A" userId="48795343-f4b0-4368-b9f1-c6e5f3910d48" providerId="ADAL" clId="{3E51CB64-41DE-4E99-AA61-015D66A9A29C}" dt="2025-09-11T05:54:39.956" v="10980"/>
          <ac:spMkLst>
            <pc:docMk/>
            <pc:sldMk cId="3944282946" sldId="642"/>
            <ac:spMk id="3" creationId="{320EC38F-FE7E-3734-CCAE-B03C19550567}"/>
          </ac:spMkLst>
        </pc:spChg>
        <pc:spChg chg="mod">
          <ac:chgData name="Nivedha N A" userId="48795343-f4b0-4368-b9f1-c6e5f3910d48" providerId="ADAL" clId="{3E51CB64-41DE-4E99-AA61-015D66A9A29C}" dt="2025-09-09T05:21:32.785" v="9728" actId="113"/>
          <ac:spMkLst>
            <pc:docMk/>
            <pc:sldMk cId="3944282946" sldId="642"/>
            <ac:spMk id="5" creationId="{B32F0865-6921-D0CD-7BF5-CC2FC256A0B1}"/>
          </ac:spMkLst>
        </pc:spChg>
        <pc:spChg chg="mod">
          <ac:chgData name="Nivedha N A" userId="48795343-f4b0-4368-b9f1-c6e5f3910d48" providerId="ADAL" clId="{3E51CB64-41DE-4E99-AA61-015D66A9A29C}" dt="2025-09-11T05:59:28.611" v="10987" actId="113"/>
          <ac:spMkLst>
            <pc:docMk/>
            <pc:sldMk cId="3944282946" sldId="642"/>
            <ac:spMk id="8" creationId="{ECED5FAE-16E4-9A3B-17D5-F6119D9D0F12}"/>
          </ac:spMkLst>
        </pc:spChg>
        <pc:picChg chg="add del mod">
          <ac:chgData name="Nivedha N A" userId="48795343-f4b0-4368-b9f1-c6e5f3910d48" providerId="ADAL" clId="{3E51CB64-41DE-4E99-AA61-015D66A9A29C}" dt="2025-09-10T13:27:54.882" v="10733" actId="21"/>
          <ac:picMkLst>
            <pc:docMk/>
            <pc:sldMk cId="3944282946" sldId="642"/>
            <ac:picMk id="7" creationId="{B5330241-1374-3137-EE0E-5FAE617CDBE5}"/>
          </ac:picMkLst>
        </pc:picChg>
        <pc:picChg chg="add mod">
          <ac:chgData name="Nivedha N A" userId="48795343-f4b0-4368-b9f1-c6e5f3910d48" providerId="ADAL" clId="{3E51CB64-41DE-4E99-AA61-015D66A9A29C}" dt="2025-09-10T13:29:17.939" v="10750" actId="1076"/>
          <ac:picMkLst>
            <pc:docMk/>
            <pc:sldMk cId="3944282946" sldId="642"/>
            <ac:picMk id="9" creationId="{6E6C66DB-DEB6-2B54-59E6-D03CAA54C340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10T12:31:15.611" v="10334" actId="1076"/>
        <pc:sldMkLst>
          <pc:docMk/>
          <pc:sldMk cId="4072486056" sldId="643"/>
        </pc:sldMkLst>
        <pc:spChg chg="mod">
          <ac:chgData name="Nivedha N A" userId="48795343-f4b0-4368-b9f1-c6e5f3910d48" providerId="ADAL" clId="{3E51CB64-41DE-4E99-AA61-015D66A9A29C}" dt="2025-09-10T12:29:33.857" v="10319" actId="20577"/>
          <ac:spMkLst>
            <pc:docMk/>
            <pc:sldMk cId="4072486056" sldId="643"/>
            <ac:spMk id="2" creationId="{1C09F6F8-8DA3-A476-294D-6A20DEC89702}"/>
          </ac:spMkLst>
        </pc:spChg>
        <pc:spChg chg="add mod">
          <ac:chgData name="Nivedha N A" userId="48795343-f4b0-4368-b9f1-c6e5f3910d48" providerId="ADAL" clId="{3E51CB64-41DE-4E99-AA61-015D66A9A29C}" dt="2025-09-10T12:29:36.447" v="10320" actId="20577"/>
          <ac:spMkLst>
            <pc:docMk/>
            <pc:sldMk cId="4072486056" sldId="643"/>
            <ac:spMk id="10" creationId="{3EB2A158-CA15-B8E5-CC6E-D5CF7DFF067B}"/>
          </ac:spMkLst>
        </pc:spChg>
        <pc:picChg chg="del">
          <ac:chgData name="Nivedha N A" userId="48795343-f4b0-4368-b9f1-c6e5f3910d48" providerId="ADAL" clId="{3E51CB64-41DE-4E99-AA61-015D66A9A29C}" dt="2025-09-10T12:12:02.008" v="10166" actId="21"/>
          <ac:picMkLst>
            <pc:docMk/>
            <pc:sldMk cId="4072486056" sldId="643"/>
            <ac:picMk id="6" creationId="{C02E11AA-6883-F0AF-973C-B35EBC3DE6E2}"/>
          </ac:picMkLst>
        </pc:picChg>
        <pc:picChg chg="add del mod">
          <ac:chgData name="Nivedha N A" userId="48795343-f4b0-4368-b9f1-c6e5f3910d48" providerId="ADAL" clId="{3E51CB64-41DE-4E99-AA61-015D66A9A29C}" dt="2025-09-10T12:30:26.157" v="10323" actId="21"/>
          <ac:picMkLst>
            <pc:docMk/>
            <pc:sldMk cId="4072486056" sldId="643"/>
            <ac:picMk id="7" creationId="{CA49972E-6840-60AB-DA99-6F279502B208}"/>
          </ac:picMkLst>
        </pc:picChg>
        <pc:picChg chg="add del mod">
          <ac:chgData name="Nivedha N A" userId="48795343-f4b0-4368-b9f1-c6e5f3910d48" providerId="ADAL" clId="{3E51CB64-41DE-4E99-AA61-015D66A9A29C}" dt="2025-09-10T12:30:56.014" v="10329" actId="21"/>
          <ac:picMkLst>
            <pc:docMk/>
            <pc:sldMk cId="4072486056" sldId="643"/>
            <ac:picMk id="9" creationId="{9328E151-4401-8F47-0B49-25748AFA4475}"/>
          </ac:picMkLst>
        </pc:picChg>
        <pc:picChg chg="add mod">
          <ac:chgData name="Nivedha N A" userId="48795343-f4b0-4368-b9f1-c6e5f3910d48" providerId="ADAL" clId="{3E51CB64-41DE-4E99-AA61-015D66A9A29C}" dt="2025-09-10T12:30:33.858" v="10326" actId="1076"/>
          <ac:picMkLst>
            <pc:docMk/>
            <pc:sldMk cId="4072486056" sldId="643"/>
            <ac:picMk id="12" creationId="{BF6C9B9F-21C6-1A1D-5161-11D7C8BFD7D8}"/>
          </ac:picMkLst>
        </pc:picChg>
        <pc:picChg chg="add mod">
          <ac:chgData name="Nivedha N A" userId="48795343-f4b0-4368-b9f1-c6e5f3910d48" providerId="ADAL" clId="{3E51CB64-41DE-4E99-AA61-015D66A9A29C}" dt="2025-09-10T12:31:15.611" v="10334" actId="1076"/>
          <ac:picMkLst>
            <pc:docMk/>
            <pc:sldMk cId="4072486056" sldId="643"/>
            <ac:picMk id="14" creationId="{C41E15DE-760B-A06B-FBB9-35C71DD445F9}"/>
          </ac:picMkLst>
        </pc:picChg>
      </pc:sldChg>
      <pc:sldChg chg="modSp add del">
        <pc:chgData name="Nivedha N A" userId="48795343-f4b0-4368-b9f1-c6e5f3910d48" providerId="ADAL" clId="{3E51CB64-41DE-4E99-AA61-015D66A9A29C}" dt="2025-09-10T13:38:32.562" v="10773" actId="2696"/>
        <pc:sldMkLst>
          <pc:docMk/>
          <pc:sldMk cId="1195990357" sldId="644"/>
        </pc:sldMkLst>
        <pc:spChg chg="mod">
          <ac:chgData name="Nivedha N A" userId="48795343-f4b0-4368-b9f1-c6e5f3910d48" providerId="ADAL" clId="{3E51CB64-41DE-4E99-AA61-015D66A9A29C}" dt="2025-09-10T12:44:52.666" v="10336"/>
          <ac:spMkLst>
            <pc:docMk/>
            <pc:sldMk cId="1195990357" sldId="644"/>
            <ac:spMk id="2" creationId="{B1A83F01-A9FB-50FF-113D-3B2E14588597}"/>
          </ac:spMkLst>
        </pc:spChg>
      </pc:sldChg>
      <pc:sldChg chg="addSp delSp modSp add del mod">
        <pc:chgData name="Nivedha N A" userId="48795343-f4b0-4368-b9f1-c6e5f3910d48" providerId="ADAL" clId="{3E51CB64-41DE-4E99-AA61-015D66A9A29C}" dt="2025-09-11T09:42:30.598" v="11208" actId="2696"/>
        <pc:sldMkLst>
          <pc:docMk/>
          <pc:sldMk cId="4252613297" sldId="645"/>
        </pc:sldMkLst>
        <pc:spChg chg="mod">
          <ac:chgData name="Nivedha N A" userId="48795343-f4b0-4368-b9f1-c6e5f3910d48" providerId="ADAL" clId="{3E51CB64-41DE-4E99-AA61-015D66A9A29C}" dt="2025-09-10T12:48:01.961" v="10346" actId="20577"/>
          <ac:spMkLst>
            <pc:docMk/>
            <pc:sldMk cId="4252613297" sldId="645"/>
            <ac:spMk id="11" creationId="{E54C2421-AA6C-5BA0-2CA4-CD822096461A}"/>
          </ac:spMkLst>
        </pc:spChg>
        <pc:spChg chg="del mod">
          <ac:chgData name="Nivedha N A" userId="48795343-f4b0-4368-b9f1-c6e5f3910d48" providerId="ADAL" clId="{3E51CB64-41DE-4E99-AA61-015D66A9A29C}" dt="2025-09-10T12:48:11.826" v="10349" actId="21"/>
          <ac:spMkLst>
            <pc:docMk/>
            <pc:sldMk cId="4252613297" sldId="645"/>
            <ac:spMk id="13" creationId="{AEC95FF9-9AF2-E3FD-4A19-7556D05B47E7}"/>
          </ac:spMkLst>
        </pc:spChg>
        <pc:picChg chg="add mod">
          <ac:chgData name="Nivedha N A" userId="48795343-f4b0-4368-b9f1-c6e5f3910d48" providerId="ADAL" clId="{3E51CB64-41DE-4E99-AA61-015D66A9A29C}" dt="2025-09-10T12:48:14.898" v="10350" actId="1076"/>
          <ac:picMkLst>
            <pc:docMk/>
            <pc:sldMk cId="4252613297" sldId="645"/>
            <ac:picMk id="6" creationId="{19B26B08-6FA4-6B47-7FB3-7C931D7AE03F}"/>
          </ac:picMkLst>
        </pc:picChg>
        <pc:picChg chg="add mod">
          <ac:chgData name="Nivedha N A" userId="48795343-f4b0-4368-b9f1-c6e5f3910d48" providerId="ADAL" clId="{3E51CB64-41DE-4E99-AA61-015D66A9A29C}" dt="2025-09-10T13:11:55.661" v="10447" actId="1076"/>
          <ac:picMkLst>
            <pc:docMk/>
            <pc:sldMk cId="4252613297" sldId="645"/>
            <ac:picMk id="7" creationId="{428595A3-D721-CA39-A3C5-659178CB2612}"/>
          </ac:picMkLst>
        </pc:picChg>
        <pc:picChg chg="del">
          <ac:chgData name="Nivedha N A" userId="48795343-f4b0-4368-b9f1-c6e5f3910d48" providerId="ADAL" clId="{3E51CB64-41DE-4E99-AA61-015D66A9A29C}" dt="2025-09-10T12:47:33.095" v="10343" actId="21"/>
          <ac:picMkLst>
            <pc:docMk/>
            <pc:sldMk cId="4252613297" sldId="645"/>
            <ac:picMk id="8" creationId="{11970E64-C902-506D-5BF1-ECE9A7A220CF}"/>
          </ac:picMkLst>
        </pc:picChg>
        <pc:picChg chg="add del mod">
          <ac:chgData name="Nivedha N A" userId="48795343-f4b0-4368-b9f1-c6e5f3910d48" providerId="ADAL" clId="{3E51CB64-41DE-4E99-AA61-015D66A9A29C}" dt="2025-09-11T08:56:16.823" v="11124" actId="22"/>
          <ac:picMkLst>
            <pc:docMk/>
            <pc:sldMk cId="4252613297" sldId="645"/>
            <ac:picMk id="8" creationId="{E095880D-E784-09F7-04E8-2C21B1622E9E}"/>
          </ac:picMkLst>
        </pc:picChg>
        <pc:picChg chg="add del mod">
          <ac:chgData name="Nivedha N A" userId="48795343-f4b0-4368-b9f1-c6e5f3910d48" providerId="ADAL" clId="{3E51CB64-41DE-4E99-AA61-015D66A9A29C}" dt="2025-09-11T08:56:15.237" v="11122" actId="21"/>
          <ac:picMkLst>
            <pc:docMk/>
            <pc:sldMk cId="4252613297" sldId="645"/>
            <ac:picMk id="9" creationId="{9D28BA9E-7A58-6B63-800A-92B8AB12809F}"/>
          </ac:picMkLst>
        </pc:picChg>
        <pc:picChg chg="add mod">
          <ac:chgData name="Nivedha N A" userId="48795343-f4b0-4368-b9f1-c6e5f3910d48" providerId="ADAL" clId="{3E51CB64-41DE-4E99-AA61-015D66A9A29C}" dt="2025-09-10T13:13:52.756" v="10469" actId="1076"/>
          <ac:picMkLst>
            <pc:docMk/>
            <pc:sldMk cId="4252613297" sldId="645"/>
            <ac:picMk id="12" creationId="{0C38FCA5-EA9B-F911-4B9B-A41CC5356149}"/>
          </ac:picMkLst>
        </pc:picChg>
        <pc:picChg chg="del">
          <ac:chgData name="Nivedha N A" userId="48795343-f4b0-4368-b9f1-c6e5f3910d48" providerId="ADAL" clId="{3E51CB64-41DE-4E99-AA61-015D66A9A29C}" dt="2025-09-10T12:48:05.227" v="10347" actId="21"/>
          <ac:picMkLst>
            <pc:docMk/>
            <pc:sldMk cId="4252613297" sldId="645"/>
            <ac:picMk id="14" creationId="{225E945D-DA02-195B-23C1-7829D49EF143}"/>
          </ac:picMkLst>
        </pc:picChg>
      </pc:sldChg>
      <pc:sldChg chg="add">
        <pc:chgData name="Nivedha N A" userId="48795343-f4b0-4368-b9f1-c6e5f3910d48" providerId="ADAL" clId="{3E51CB64-41DE-4E99-AA61-015D66A9A29C}" dt="2025-09-10T13:41:32.364" v="10780" actId="2890"/>
        <pc:sldMkLst>
          <pc:docMk/>
          <pc:sldMk cId="3827589378" sldId="646"/>
        </pc:sldMkLst>
      </pc:sldChg>
      <pc:sldChg chg="addSp delSp modSp add del mod">
        <pc:chgData name="Nivedha N A" userId="48795343-f4b0-4368-b9f1-c6e5f3910d48" providerId="ADAL" clId="{3E51CB64-41DE-4E99-AA61-015D66A9A29C}" dt="2025-09-11T07:50:38.322" v="11075" actId="2696"/>
        <pc:sldMkLst>
          <pc:docMk/>
          <pc:sldMk cId="4227228942" sldId="647"/>
        </pc:sldMkLst>
        <pc:spChg chg="mod">
          <ac:chgData name="Nivedha N A" userId="48795343-f4b0-4368-b9f1-c6e5f3910d48" providerId="ADAL" clId="{3E51CB64-41DE-4E99-AA61-015D66A9A29C}" dt="2025-09-10T13:56:21.810" v="10818" actId="20577"/>
          <ac:spMkLst>
            <pc:docMk/>
            <pc:sldMk cId="4227228942" sldId="647"/>
            <ac:spMk id="2" creationId="{BA9DE7AB-B025-D459-95C8-FCCDB64ACEE0}"/>
          </ac:spMkLst>
        </pc:spChg>
        <pc:spChg chg="add">
          <ac:chgData name="Nivedha N A" userId="48795343-f4b0-4368-b9f1-c6e5f3910d48" providerId="ADAL" clId="{3E51CB64-41DE-4E99-AA61-015D66A9A29C}" dt="2025-09-10T13:57:31.760" v="10826"/>
          <ac:spMkLst>
            <pc:docMk/>
            <pc:sldMk cId="4227228942" sldId="647"/>
            <ac:spMk id="7" creationId="{A0069550-91D5-B4AA-DCB2-9BE46E834952}"/>
          </ac:spMkLst>
        </pc:spChg>
        <pc:spChg chg="add mod">
          <ac:chgData name="Nivedha N A" userId="48795343-f4b0-4368-b9f1-c6e5f3910d48" providerId="ADAL" clId="{3E51CB64-41DE-4E99-AA61-015D66A9A29C}" dt="2025-09-10T14:02:26.282" v="10844" actId="5793"/>
          <ac:spMkLst>
            <pc:docMk/>
            <pc:sldMk cId="4227228942" sldId="647"/>
            <ac:spMk id="9" creationId="{7DAB0E4C-FAB0-B44D-AFAB-01FB7A014833}"/>
          </ac:spMkLst>
        </pc:spChg>
        <pc:spChg chg="mod">
          <ac:chgData name="Nivedha N A" userId="48795343-f4b0-4368-b9f1-c6e5f3910d48" providerId="ADAL" clId="{3E51CB64-41DE-4E99-AA61-015D66A9A29C}" dt="2025-09-10T13:56:43.170" v="10819" actId="20577"/>
          <ac:spMkLst>
            <pc:docMk/>
            <pc:sldMk cId="4227228942" sldId="647"/>
            <ac:spMk id="10" creationId="{EA0271DB-13ED-EE51-6C89-4C6B7218FFCA}"/>
          </ac:spMkLst>
        </pc:spChg>
        <pc:picChg chg="add mod">
          <ac:chgData name="Nivedha N A" userId="48795343-f4b0-4368-b9f1-c6e5f3910d48" providerId="ADAL" clId="{3E51CB64-41DE-4E99-AA61-015D66A9A29C}" dt="2025-09-10T14:02:10.372" v="10840" actId="14100"/>
          <ac:picMkLst>
            <pc:docMk/>
            <pc:sldMk cId="4227228942" sldId="647"/>
            <ac:picMk id="6" creationId="{7CB5A8C9-3CF6-607B-C3F9-DD0545CEFAEE}"/>
          </ac:picMkLst>
        </pc:picChg>
        <pc:picChg chg="del">
          <ac:chgData name="Nivedha N A" userId="48795343-f4b0-4368-b9f1-c6e5f3910d48" providerId="ADAL" clId="{3E51CB64-41DE-4E99-AA61-015D66A9A29C}" dt="2025-09-10T13:55:36.604" v="10801" actId="21"/>
          <ac:picMkLst>
            <pc:docMk/>
            <pc:sldMk cId="4227228942" sldId="647"/>
            <ac:picMk id="12" creationId="{6B9D6B28-A395-135D-0999-F231634036E6}"/>
          </ac:picMkLst>
        </pc:picChg>
        <pc:picChg chg="del">
          <ac:chgData name="Nivedha N A" userId="48795343-f4b0-4368-b9f1-c6e5f3910d48" providerId="ADAL" clId="{3E51CB64-41DE-4E99-AA61-015D66A9A29C}" dt="2025-09-10T13:55:33.769" v="10800" actId="21"/>
          <ac:picMkLst>
            <pc:docMk/>
            <pc:sldMk cId="4227228942" sldId="647"/>
            <ac:picMk id="14" creationId="{A99DBB57-23AB-766C-6490-A3B5D174E0EA}"/>
          </ac:picMkLst>
        </pc:picChg>
      </pc:sldChg>
      <pc:sldChg chg="modSp add">
        <pc:chgData name="Nivedha N A" userId="48795343-f4b0-4368-b9f1-c6e5f3910d48" providerId="ADAL" clId="{3E51CB64-41DE-4E99-AA61-015D66A9A29C}" dt="2025-09-11T05:53:26.905" v="10970"/>
        <pc:sldMkLst>
          <pc:docMk/>
          <pc:sldMk cId="1335574143" sldId="648"/>
        </pc:sldMkLst>
        <pc:spChg chg="mod">
          <ac:chgData name="Nivedha N A" userId="48795343-f4b0-4368-b9f1-c6e5f3910d48" providerId="ADAL" clId="{3E51CB64-41DE-4E99-AA61-015D66A9A29C}" dt="2025-09-11T05:53:26.905" v="10970"/>
          <ac:spMkLst>
            <pc:docMk/>
            <pc:sldMk cId="1335574143" sldId="648"/>
            <ac:spMk id="3" creationId="{6ECB3BC4-3316-A63F-856E-875ACCF718F4}"/>
          </ac:spMkLst>
        </pc:spChg>
      </pc:sldChg>
      <pc:sldChg chg="addSp delSp modSp add mod ord">
        <pc:chgData name="Nivedha N A" userId="48795343-f4b0-4368-b9f1-c6e5f3910d48" providerId="ADAL" clId="{3E51CB64-41DE-4E99-AA61-015D66A9A29C}" dt="2025-09-11T05:10:56.141" v="10879" actId="14100"/>
        <pc:sldMkLst>
          <pc:docMk/>
          <pc:sldMk cId="3345299046" sldId="649"/>
        </pc:sldMkLst>
        <pc:spChg chg="mod">
          <ac:chgData name="Nivedha N A" userId="48795343-f4b0-4368-b9f1-c6e5f3910d48" providerId="ADAL" clId="{3E51CB64-41DE-4E99-AA61-015D66A9A29C}" dt="2025-09-11T05:05:57.789" v="10857"/>
          <ac:spMkLst>
            <pc:docMk/>
            <pc:sldMk cId="3345299046" sldId="649"/>
            <ac:spMk id="2" creationId="{6A55E37D-309C-992C-1704-E56E8381FD40}"/>
          </ac:spMkLst>
        </pc:spChg>
        <pc:picChg chg="del">
          <ac:chgData name="Nivedha N A" userId="48795343-f4b0-4368-b9f1-c6e5f3910d48" providerId="ADAL" clId="{3E51CB64-41DE-4E99-AA61-015D66A9A29C}" dt="2025-09-11T05:06:03.162" v="10858" actId="21"/>
          <ac:picMkLst>
            <pc:docMk/>
            <pc:sldMk cId="3345299046" sldId="649"/>
            <ac:picMk id="6" creationId="{D7E28131-FDA2-759A-46E9-2357B8CD2E71}"/>
          </ac:picMkLst>
        </pc:picChg>
        <pc:picChg chg="add mod">
          <ac:chgData name="Nivedha N A" userId="48795343-f4b0-4368-b9f1-c6e5f3910d48" providerId="ADAL" clId="{3E51CB64-41DE-4E99-AA61-015D66A9A29C}" dt="2025-09-11T05:10:56.141" v="10879" actId="14100"/>
          <ac:picMkLst>
            <pc:docMk/>
            <pc:sldMk cId="3345299046" sldId="649"/>
            <ac:picMk id="7" creationId="{6C2349D6-B7B4-F811-22D6-4000AACA5A70}"/>
          </ac:picMkLst>
        </pc:picChg>
        <pc:picChg chg="add mod">
          <ac:chgData name="Nivedha N A" userId="48795343-f4b0-4368-b9f1-c6e5f3910d48" providerId="ADAL" clId="{3E51CB64-41DE-4E99-AA61-015D66A9A29C}" dt="2025-09-11T05:10:50.848" v="10878" actId="14100"/>
          <ac:picMkLst>
            <pc:docMk/>
            <pc:sldMk cId="3345299046" sldId="649"/>
            <ac:picMk id="9" creationId="{A8FC9725-A812-CC1E-7279-F78035B6E54C}"/>
          </ac:picMkLst>
        </pc:picChg>
      </pc:sldChg>
      <pc:sldChg chg="addSp delSp modSp add mod ord">
        <pc:chgData name="Nivedha N A" userId="48795343-f4b0-4368-b9f1-c6e5f3910d48" providerId="ADAL" clId="{3E51CB64-41DE-4E99-AA61-015D66A9A29C}" dt="2025-09-11T05:31:23.238" v="10910" actId="14100"/>
        <pc:sldMkLst>
          <pc:docMk/>
          <pc:sldMk cId="107091354" sldId="650"/>
        </pc:sldMkLst>
        <pc:spChg chg="mod">
          <ac:chgData name="Nivedha N A" userId="48795343-f4b0-4368-b9f1-c6e5f3910d48" providerId="ADAL" clId="{3E51CB64-41DE-4E99-AA61-015D66A9A29C}" dt="2025-09-11T05:26:31.423" v="10885"/>
          <ac:spMkLst>
            <pc:docMk/>
            <pc:sldMk cId="107091354" sldId="650"/>
            <ac:spMk id="2" creationId="{54903F67-884D-DBAE-1462-89240091E8BD}"/>
          </ac:spMkLst>
        </pc:spChg>
        <pc:spChg chg="mod">
          <ac:chgData name="Nivedha N A" userId="48795343-f4b0-4368-b9f1-c6e5f3910d48" providerId="ADAL" clId="{3E51CB64-41DE-4E99-AA61-015D66A9A29C}" dt="2025-09-11T05:30:57.261" v="10906" actId="1076"/>
          <ac:spMkLst>
            <pc:docMk/>
            <pc:sldMk cId="107091354" sldId="650"/>
            <ac:spMk id="9" creationId="{B1D20D48-AB56-B2DC-7252-F22F6D8D4223}"/>
          </ac:spMkLst>
        </pc:spChg>
        <pc:picChg chg="del">
          <ac:chgData name="Nivedha N A" userId="48795343-f4b0-4368-b9f1-c6e5f3910d48" providerId="ADAL" clId="{3E51CB64-41DE-4E99-AA61-015D66A9A29C}" dt="2025-09-11T05:27:12.348" v="10887" actId="21"/>
          <ac:picMkLst>
            <pc:docMk/>
            <pc:sldMk cId="107091354" sldId="650"/>
            <ac:picMk id="6" creationId="{A9A06564-FAF5-1A7D-C6D2-880BA26F760D}"/>
          </ac:picMkLst>
        </pc:picChg>
        <pc:picChg chg="add mod">
          <ac:chgData name="Nivedha N A" userId="48795343-f4b0-4368-b9f1-c6e5f3910d48" providerId="ADAL" clId="{3E51CB64-41DE-4E99-AA61-015D66A9A29C}" dt="2025-09-11T05:31:23.238" v="10910" actId="14100"/>
          <ac:picMkLst>
            <pc:docMk/>
            <pc:sldMk cId="107091354" sldId="650"/>
            <ac:picMk id="7" creationId="{4AD7057D-B60D-C5E5-DDDE-1F0A47450F12}"/>
          </ac:picMkLst>
        </pc:picChg>
        <pc:picChg chg="add mod">
          <ac:chgData name="Nivedha N A" userId="48795343-f4b0-4368-b9f1-c6e5f3910d48" providerId="ADAL" clId="{3E51CB64-41DE-4E99-AA61-015D66A9A29C}" dt="2025-09-11T05:30:47.810" v="10905" actId="1076"/>
          <ac:picMkLst>
            <pc:docMk/>
            <pc:sldMk cId="107091354" sldId="650"/>
            <ac:picMk id="11" creationId="{EF623C78-D037-5525-45F4-9E73A91B5842}"/>
          </ac:picMkLst>
        </pc:picChg>
        <pc:picChg chg="add del mod">
          <ac:chgData name="Nivedha N A" userId="48795343-f4b0-4368-b9f1-c6e5f3910d48" providerId="ADAL" clId="{3E51CB64-41DE-4E99-AA61-015D66A9A29C}" dt="2025-09-11T05:28:28.099" v="10893" actId="21"/>
          <ac:picMkLst>
            <pc:docMk/>
            <pc:sldMk cId="107091354" sldId="650"/>
            <ac:picMk id="2050" creationId="{9DB9810A-F27C-C5B1-8ECA-15766A071D93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11T08:00:21.232" v="11080" actId="14100"/>
        <pc:sldMkLst>
          <pc:docMk/>
          <pc:sldMk cId="1376208692" sldId="651"/>
        </pc:sldMkLst>
        <pc:spChg chg="mod">
          <ac:chgData name="Nivedha N A" userId="48795343-f4b0-4368-b9f1-c6e5f3910d48" providerId="ADAL" clId="{3E51CB64-41DE-4E99-AA61-015D66A9A29C}" dt="2025-09-11T05:48:27.815" v="10948" actId="1076"/>
          <ac:spMkLst>
            <pc:docMk/>
            <pc:sldMk cId="1376208692" sldId="651"/>
            <ac:spMk id="2" creationId="{47A1CEE6-E6AB-84DD-D419-DC1071F934A6}"/>
          </ac:spMkLst>
        </pc:spChg>
        <pc:spChg chg="mod">
          <ac:chgData name="Nivedha N A" userId="48795343-f4b0-4368-b9f1-c6e5f3910d48" providerId="ADAL" clId="{3E51CB64-41DE-4E99-AA61-015D66A9A29C}" dt="2025-09-11T05:44:42.770" v="10918" actId="26606"/>
          <ac:spMkLst>
            <pc:docMk/>
            <pc:sldMk cId="1376208692" sldId="651"/>
            <ac:spMk id="3" creationId="{A8D29EF0-10E3-48B0-34C8-A7C00B6032A7}"/>
          </ac:spMkLst>
        </pc:spChg>
        <pc:spChg chg="mod">
          <ac:chgData name="Nivedha N A" userId="48795343-f4b0-4368-b9f1-c6e5f3910d48" providerId="ADAL" clId="{3E51CB64-41DE-4E99-AA61-015D66A9A29C}" dt="2025-09-11T05:44:42.770" v="10918" actId="26606"/>
          <ac:spMkLst>
            <pc:docMk/>
            <pc:sldMk cId="1376208692" sldId="651"/>
            <ac:spMk id="4" creationId="{70F8C870-FF86-7B76-C756-C7E5B8741C36}"/>
          </ac:spMkLst>
        </pc:spChg>
        <pc:spChg chg="del">
          <ac:chgData name="Nivedha N A" userId="48795343-f4b0-4368-b9f1-c6e5f3910d48" providerId="ADAL" clId="{3E51CB64-41DE-4E99-AA61-015D66A9A29C}" dt="2025-09-11T05:42:58.916" v="10912" actId="21"/>
          <ac:spMkLst>
            <pc:docMk/>
            <pc:sldMk cId="1376208692" sldId="651"/>
            <ac:spMk id="7" creationId="{59375F1C-0478-C83E-8C32-646B366DE738}"/>
          </ac:spMkLst>
        </pc:spChg>
        <pc:picChg chg="add del mod">
          <ac:chgData name="Nivedha N A" userId="48795343-f4b0-4368-b9f1-c6e5f3910d48" providerId="ADAL" clId="{3E51CB64-41DE-4E99-AA61-015D66A9A29C}" dt="2025-09-11T07:59:35.841" v="11076" actId="21"/>
          <ac:picMkLst>
            <pc:docMk/>
            <pc:sldMk cId="1376208692" sldId="651"/>
            <ac:picMk id="6" creationId="{ED706022-A040-2694-EA04-E10DC4C39017}"/>
          </ac:picMkLst>
        </pc:picChg>
        <pc:picChg chg="add mod">
          <ac:chgData name="Nivedha N A" userId="48795343-f4b0-4368-b9f1-c6e5f3910d48" providerId="ADAL" clId="{3E51CB64-41DE-4E99-AA61-015D66A9A29C}" dt="2025-09-11T08:00:21.232" v="11080" actId="14100"/>
          <ac:picMkLst>
            <pc:docMk/>
            <pc:sldMk cId="1376208692" sldId="651"/>
            <ac:picMk id="9" creationId="{B603BA18-13C3-32CD-9D11-054514F6BD5A}"/>
          </ac:picMkLst>
        </pc:picChg>
        <pc:picChg chg="del">
          <ac:chgData name="Nivedha N A" userId="48795343-f4b0-4368-b9f1-c6e5f3910d48" providerId="ADAL" clId="{3E51CB64-41DE-4E99-AA61-015D66A9A29C}" dt="2025-09-11T05:43:18.832" v="10913" actId="21"/>
          <ac:picMkLst>
            <pc:docMk/>
            <pc:sldMk cId="1376208692" sldId="651"/>
            <ac:picMk id="15" creationId="{1C24BD0B-4904-5199-2C05-CE7CB23CC291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11T08:11:07.021" v="11106" actId="1076"/>
        <pc:sldMkLst>
          <pc:docMk/>
          <pc:sldMk cId="1024531803" sldId="652"/>
        </pc:sldMkLst>
        <pc:spChg chg="mod">
          <ac:chgData name="Nivedha N A" userId="48795343-f4b0-4368-b9f1-c6e5f3910d48" providerId="ADAL" clId="{3E51CB64-41DE-4E99-AA61-015D66A9A29C}" dt="2025-09-11T08:05:03.593" v="11086" actId="26606"/>
          <ac:spMkLst>
            <pc:docMk/>
            <pc:sldMk cId="1024531803" sldId="652"/>
            <ac:spMk id="2" creationId="{2BA04759-BD2D-2490-A9D0-C110CBC012D5}"/>
          </ac:spMkLst>
        </pc:spChg>
        <pc:spChg chg="mod">
          <ac:chgData name="Nivedha N A" userId="48795343-f4b0-4368-b9f1-c6e5f3910d48" providerId="ADAL" clId="{3E51CB64-41DE-4E99-AA61-015D66A9A29C}" dt="2025-09-11T08:05:03.593" v="11086" actId="26606"/>
          <ac:spMkLst>
            <pc:docMk/>
            <pc:sldMk cId="1024531803" sldId="652"/>
            <ac:spMk id="3" creationId="{13669A24-8684-DC4F-646C-B1D70841C20E}"/>
          </ac:spMkLst>
        </pc:spChg>
        <pc:spChg chg="mod">
          <ac:chgData name="Nivedha N A" userId="48795343-f4b0-4368-b9f1-c6e5f3910d48" providerId="ADAL" clId="{3E51CB64-41DE-4E99-AA61-015D66A9A29C}" dt="2025-09-11T08:05:03.593" v="11086" actId="26606"/>
          <ac:spMkLst>
            <pc:docMk/>
            <pc:sldMk cId="1024531803" sldId="652"/>
            <ac:spMk id="4" creationId="{5E94EC0C-4270-376C-6309-BFFE297113FC}"/>
          </ac:spMkLst>
        </pc:spChg>
        <pc:picChg chg="del">
          <ac:chgData name="Nivedha N A" userId="48795343-f4b0-4368-b9f1-c6e5f3910d48" providerId="ADAL" clId="{3E51CB64-41DE-4E99-AA61-015D66A9A29C}" dt="2025-09-11T05:49:00.169" v="10950" actId="21"/>
          <ac:picMkLst>
            <pc:docMk/>
            <pc:sldMk cId="1024531803" sldId="652"/>
            <ac:picMk id="6" creationId="{45E0118A-F1C1-336B-293E-7818589AF7D8}"/>
          </ac:picMkLst>
        </pc:picChg>
        <pc:picChg chg="add del mod">
          <ac:chgData name="Nivedha N A" userId="48795343-f4b0-4368-b9f1-c6e5f3910d48" providerId="ADAL" clId="{3E51CB64-41DE-4E99-AA61-015D66A9A29C}" dt="2025-09-11T08:04:09.824" v="11081" actId="21"/>
          <ac:picMkLst>
            <pc:docMk/>
            <pc:sldMk cId="1024531803" sldId="652"/>
            <ac:picMk id="7" creationId="{EFA8716C-CE27-7A62-7539-BF753567D579}"/>
          </ac:picMkLst>
        </pc:picChg>
        <pc:picChg chg="add del mod">
          <ac:chgData name="Nivedha N A" userId="48795343-f4b0-4368-b9f1-c6e5f3910d48" providerId="ADAL" clId="{3E51CB64-41DE-4E99-AA61-015D66A9A29C}" dt="2025-09-11T08:08:57.888" v="11097" actId="21"/>
          <ac:picMkLst>
            <pc:docMk/>
            <pc:sldMk cId="1024531803" sldId="652"/>
            <ac:picMk id="9" creationId="{804CD5F5-2458-4C98-CD60-0E9EF9699394}"/>
          </ac:picMkLst>
        </pc:picChg>
        <pc:picChg chg="add del mod">
          <ac:chgData name="Nivedha N A" userId="48795343-f4b0-4368-b9f1-c6e5f3910d48" providerId="ADAL" clId="{3E51CB64-41DE-4E99-AA61-015D66A9A29C}" dt="2025-09-11T08:10:57.089" v="11103" actId="21"/>
          <ac:picMkLst>
            <pc:docMk/>
            <pc:sldMk cId="1024531803" sldId="652"/>
            <ac:picMk id="11" creationId="{7CBCDFF8-1AD8-873D-4BE5-E6DE9DB06F06}"/>
          </ac:picMkLst>
        </pc:picChg>
        <pc:picChg chg="add mod">
          <ac:chgData name="Nivedha N A" userId="48795343-f4b0-4368-b9f1-c6e5f3910d48" providerId="ADAL" clId="{3E51CB64-41DE-4E99-AA61-015D66A9A29C}" dt="2025-09-11T08:11:07.021" v="11106" actId="1076"/>
          <ac:picMkLst>
            <pc:docMk/>
            <pc:sldMk cId="1024531803" sldId="652"/>
            <ac:picMk id="13" creationId="{D16629CE-C0E0-3E85-DB74-3D46BBF1D8FC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11T08:13:02.613" v="11109" actId="1076"/>
        <pc:sldMkLst>
          <pc:docMk/>
          <pc:sldMk cId="2784680253" sldId="653"/>
        </pc:sldMkLst>
        <pc:spChg chg="add mod">
          <ac:chgData name="Nivedha N A" userId="48795343-f4b0-4368-b9f1-c6e5f3910d48" providerId="ADAL" clId="{3E51CB64-41DE-4E99-AA61-015D66A9A29C}" dt="2025-09-11T05:51:27.922" v="10962" actId="207"/>
          <ac:spMkLst>
            <pc:docMk/>
            <pc:sldMk cId="2784680253" sldId="653"/>
            <ac:spMk id="8" creationId="{1C8FBD3A-51FA-6F9F-D689-DEA78B46E903}"/>
          </ac:spMkLst>
        </pc:spChg>
        <pc:picChg chg="add del mod modCrop">
          <ac:chgData name="Nivedha N A" userId="48795343-f4b0-4368-b9f1-c6e5f3910d48" providerId="ADAL" clId="{3E51CB64-41DE-4E99-AA61-015D66A9A29C}" dt="2025-09-11T08:12:59.300" v="11108" actId="21"/>
          <ac:picMkLst>
            <pc:docMk/>
            <pc:sldMk cId="2784680253" sldId="653"/>
            <ac:picMk id="6" creationId="{89C1B37A-C5D1-BEE1-D1DE-402E7E788F4F}"/>
          </ac:picMkLst>
        </pc:picChg>
        <pc:picChg chg="del">
          <ac:chgData name="Nivedha N A" userId="48795343-f4b0-4368-b9f1-c6e5f3910d48" providerId="ADAL" clId="{3E51CB64-41DE-4E99-AA61-015D66A9A29C}" dt="2025-09-11T05:50:29.159" v="10956" actId="21"/>
          <ac:picMkLst>
            <pc:docMk/>
            <pc:sldMk cId="2784680253" sldId="653"/>
            <ac:picMk id="7" creationId="{27D5F8D9-08B0-425C-0E69-3B22B5D35989}"/>
          </ac:picMkLst>
        </pc:picChg>
        <pc:picChg chg="add del">
          <ac:chgData name="Nivedha N A" userId="48795343-f4b0-4368-b9f1-c6e5f3910d48" providerId="ADAL" clId="{3E51CB64-41DE-4E99-AA61-015D66A9A29C}" dt="2025-09-11T08:05:57.109" v="11091" actId="21"/>
          <ac:picMkLst>
            <pc:docMk/>
            <pc:sldMk cId="2784680253" sldId="653"/>
            <ac:picMk id="10" creationId="{28380ACC-D5F4-B994-7C7A-2DE8AC6CCD19}"/>
          </ac:picMkLst>
        </pc:picChg>
        <pc:picChg chg="add del mod">
          <ac:chgData name="Nivedha N A" userId="48795343-f4b0-4368-b9f1-c6e5f3910d48" providerId="ADAL" clId="{3E51CB64-41DE-4E99-AA61-015D66A9A29C}" dt="2025-09-11T08:06:28.138" v="11095" actId="21"/>
          <ac:picMkLst>
            <pc:docMk/>
            <pc:sldMk cId="2784680253" sldId="653"/>
            <ac:picMk id="11" creationId="{28380ACC-D5F4-B994-7C7A-2DE8AC6CCD19}"/>
          </ac:picMkLst>
        </pc:picChg>
        <pc:picChg chg="add mod">
          <ac:chgData name="Nivedha N A" userId="48795343-f4b0-4368-b9f1-c6e5f3910d48" providerId="ADAL" clId="{3E51CB64-41DE-4E99-AA61-015D66A9A29C}" dt="2025-09-11T08:13:02.613" v="11109" actId="1076"/>
          <ac:picMkLst>
            <pc:docMk/>
            <pc:sldMk cId="2784680253" sldId="653"/>
            <ac:picMk id="13" creationId="{7088804B-FF2B-6FFC-23CF-751ED6E8424C}"/>
          </ac:picMkLst>
        </pc:picChg>
      </pc:sldChg>
      <pc:sldChg chg="add del ord">
        <pc:chgData name="Nivedha N A" userId="48795343-f4b0-4368-b9f1-c6e5f3910d48" providerId="ADAL" clId="{3E51CB64-41DE-4E99-AA61-015D66A9A29C}" dt="2025-09-11T07:07:13.405" v="11014" actId="2890"/>
        <pc:sldMkLst>
          <pc:docMk/>
          <pc:sldMk cId="577252732" sldId="654"/>
        </pc:sldMkLst>
      </pc:sldChg>
      <pc:sldChg chg="add">
        <pc:chgData name="Nivedha N A" userId="48795343-f4b0-4368-b9f1-c6e5f3910d48" providerId="ADAL" clId="{3E51CB64-41DE-4E99-AA61-015D66A9A29C}" dt="2025-09-11T07:28:46.430" v="11022" actId="2890"/>
        <pc:sldMkLst>
          <pc:docMk/>
          <pc:sldMk cId="2266229768" sldId="654"/>
        </pc:sldMkLst>
      </pc:sldChg>
      <pc:sldChg chg="addSp delSp modSp add mod">
        <pc:chgData name="Nivedha N A" userId="48795343-f4b0-4368-b9f1-c6e5f3910d48" providerId="ADAL" clId="{3E51CB64-41DE-4E99-AA61-015D66A9A29C}" dt="2025-09-11T09:01:29.217" v="11207" actId="14100"/>
        <pc:sldMkLst>
          <pc:docMk/>
          <pc:sldMk cId="2434576837" sldId="655"/>
        </pc:sldMkLst>
        <pc:spChg chg="mod">
          <ac:chgData name="Nivedha N A" userId="48795343-f4b0-4368-b9f1-c6e5f3910d48" providerId="ADAL" clId="{3E51CB64-41DE-4E99-AA61-015D66A9A29C}" dt="2025-09-11T08:58:28.033" v="11184" actId="113"/>
          <ac:spMkLst>
            <pc:docMk/>
            <pc:sldMk cId="2434576837" sldId="655"/>
            <ac:spMk id="11" creationId="{04435A4F-9459-50F0-4E4C-5DAD482FD409}"/>
          </ac:spMkLst>
        </pc:spChg>
        <pc:picChg chg="del">
          <ac:chgData name="Nivedha N A" userId="48795343-f4b0-4368-b9f1-c6e5f3910d48" providerId="ADAL" clId="{3E51CB64-41DE-4E99-AA61-015D66A9A29C}" dt="2025-09-11T08:56:45.763" v="11127" actId="21"/>
          <ac:picMkLst>
            <pc:docMk/>
            <pc:sldMk cId="2434576837" sldId="655"/>
            <ac:picMk id="6" creationId="{00763274-1D0C-D181-26FD-56F6E24875A0}"/>
          </ac:picMkLst>
        </pc:picChg>
        <pc:picChg chg="add mod">
          <ac:chgData name="Nivedha N A" userId="48795343-f4b0-4368-b9f1-c6e5f3910d48" providerId="ADAL" clId="{3E51CB64-41DE-4E99-AA61-015D66A9A29C}" dt="2025-09-11T08:57:08.182" v="11162" actId="1076"/>
          <ac:picMkLst>
            <pc:docMk/>
            <pc:sldMk cId="2434576837" sldId="655"/>
            <ac:picMk id="8" creationId="{4BB36B3C-5BE2-B1F9-CC03-B126B04BCCED}"/>
          </ac:picMkLst>
        </pc:picChg>
        <pc:picChg chg="del">
          <ac:chgData name="Nivedha N A" userId="48795343-f4b0-4368-b9f1-c6e5f3910d48" providerId="ADAL" clId="{3E51CB64-41DE-4E99-AA61-015D66A9A29C}" dt="2025-09-11T08:56:48.049" v="11128" actId="21"/>
          <ac:picMkLst>
            <pc:docMk/>
            <pc:sldMk cId="2434576837" sldId="655"/>
            <ac:picMk id="9" creationId="{9D721992-680C-1DBE-F857-25315C34A0D5}"/>
          </ac:picMkLst>
        </pc:picChg>
        <pc:picChg chg="del">
          <ac:chgData name="Nivedha N A" userId="48795343-f4b0-4368-b9f1-c6e5f3910d48" providerId="ADAL" clId="{3E51CB64-41DE-4E99-AA61-015D66A9A29C}" dt="2025-09-11T08:58:34.304" v="11185" actId="21"/>
          <ac:picMkLst>
            <pc:docMk/>
            <pc:sldMk cId="2434576837" sldId="655"/>
            <ac:picMk id="12" creationId="{6C121618-83CF-75E2-0658-ECF5AB6F93A8}"/>
          </ac:picMkLst>
        </pc:picChg>
        <pc:picChg chg="add mod">
          <ac:chgData name="Nivedha N A" userId="48795343-f4b0-4368-b9f1-c6e5f3910d48" providerId="ADAL" clId="{3E51CB64-41DE-4E99-AA61-015D66A9A29C}" dt="2025-09-11T09:01:29.217" v="11207" actId="14100"/>
          <ac:picMkLst>
            <pc:docMk/>
            <pc:sldMk cId="2434576837" sldId="655"/>
            <ac:picMk id="14" creationId="{52431D67-176F-DD28-3340-1AE3363E9103}"/>
          </ac:picMkLst>
        </pc:picChg>
        <pc:picChg chg="add mod">
          <ac:chgData name="Nivedha N A" userId="48795343-f4b0-4368-b9f1-c6e5f3910d48" providerId="ADAL" clId="{3E51CB64-41DE-4E99-AA61-015D66A9A29C}" dt="2025-09-11T09:01:19.279" v="11206" actId="1076"/>
          <ac:picMkLst>
            <pc:docMk/>
            <pc:sldMk cId="2434576837" sldId="655"/>
            <ac:picMk id="16" creationId="{F58A5707-9742-76E3-3FBE-96090AAC6C01}"/>
          </ac:picMkLst>
        </pc:picChg>
      </pc:sldChg>
      <pc:sldMasterChg chg="delSldLayout">
        <pc:chgData name="Nivedha N A" userId="48795343-f4b0-4368-b9f1-c6e5f3910d48" providerId="ADAL" clId="{3E51CB64-41DE-4E99-AA61-015D66A9A29C}" dt="2025-09-02T13:54:55.730" v="3525" actId="2696"/>
        <pc:sldMasterMkLst>
          <pc:docMk/>
          <pc:sldMasterMk cId="901074324" sldId="2147483660"/>
        </pc:sldMasterMkLst>
        <pc:sldLayoutChg chg="del">
          <pc:chgData name="Nivedha N A" userId="48795343-f4b0-4368-b9f1-c6e5f3910d48" providerId="ADAL" clId="{3E51CB64-41DE-4E99-AA61-015D66A9A29C}" dt="2025-09-02T13:54:55.730" v="3525" actId="2696"/>
          <pc:sldLayoutMkLst>
            <pc:docMk/>
            <pc:sldMasterMk cId="901074324" sldId="2147483660"/>
            <pc:sldLayoutMk cId="1061102630" sldId="214748378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62AD108A-B93D-476C-97D1-532FA7C820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310D62-412C-410A-AAA0-4E5D49329FE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174857-E93A-404B-BD8C-92A5C3CF863C}" type="datetimeFigureOut">
              <a:rPr lang="de-DE" smtClean="0">
                <a:latin typeface="Segoe UI" panose="020B0502040204020203" pitchFamily="34" charset="0"/>
              </a:rPr>
              <a:t>11.09.2025</a:t>
            </a:fld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392DAE0-2311-4972-84AD-6A347CDE0EC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1FF86D-3363-45E1-9048-5290E10CC3B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2B4E8B-BF1F-423A-AB25-E744821B17F8}" type="slidenum">
              <a:rPr lang="de-DE" smtClean="0">
                <a:latin typeface="Segoe UI" panose="020B0502040204020203" pitchFamily="34" charset="0"/>
              </a:rPr>
              <a:t>‹#›</a:t>
            </a:fld>
            <a:endParaRPr lang="de-DE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7093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Segoe UI" panose="020B0502040204020203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Segoe UI" panose="020B0502040204020203" pitchFamily="34" charset="0"/>
              </a:defRPr>
            </a:lvl1pPr>
          </a:lstStyle>
          <a:p>
            <a:fld id="{B0D8E98B-53F8-46DC-81BC-9BFFDEE194FB}" type="datetimeFigureOut">
              <a:rPr lang="en-US" noProof="0" smtClean="0"/>
              <a:pPr/>
              <a:t>9/11/2025</a:t>
            </a:fld>
            <a:endParaRPr lang="en-US" noProof="0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630237"/>
            <a:ext cx="5483225" cy="30861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3887785"/>
            <a:ext cx="5486400" cy="462597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First level, Segoe UI, 12p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Segoe UI" panose="020B0502040204020203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Segoe UI" panose="020B0502040204020203" pitchFamily="34" charset="0"/>
              </a:defRPr>
            </a:lvl1pPr>
          </a:lstStyle>
          <a:p>
            <a:fld id="{7CBF4CD1-0CF9-4B7D-A16D-4B6EB45F6A4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107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62000" indent="-162000" algn="l" defTabSz="914400" rtl="0" eaLnBrk="1" latinLnBrk="0" hangingPunct="1">
      <a:buClr>
        <a:schemeClr val="accent1"/>
      </a:buClr>
      <a:buSzPct val="100000"/>
      <a:buFont typeface="Wingdings" panose="05000000000000000000" pitchFamily="2" charset="2"/>
      <a:buChar char="§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522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90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458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926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01103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EAC107-5083-4B28-79DA-9056FBAB6E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BCA75FB-7275-9467-2D9F-064BED56B2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96C1015-8CD2-F6F6-DCA4-08BF4820FD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2426BB-F5A2-6D60-52E3-DA7C8040F5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4724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5918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E686C6-FB94-F49C-C202-097CA67D7C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E42015E-8FAE-7DAC-BF0E-3E25F2A9F5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AD9A05F-6C33-26DC-BA88-0A341E5F25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63EF2B-0F47-9108-09FA-61F5778D79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9697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5918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E25139-F356-5AEA-8630-CE4AEF0709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B47C6C3-87A7-425C-690A-7756D643D1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8C2D40B-5897-2613-0251-235620F477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040A4B-4C2F-946D-4829-86A97FD466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0388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06844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CB2AF3-7587-3829-601C-2D40A399C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C50F3A1-CD98-244B-0448-B0777797D9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0A94CA3-FF64-21FC-34A4-3D80D6639A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D276ABD-C3B1-1A23-41F7-000F2314C9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73883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19671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591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E6051E-ABD4-E80B-131E-F93DE90AC7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6285948-564C-0F19-E4CE-B0A138B1B3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7CD8900-D9DE-360B-D495-48F7A9D2EE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857193-580C-0FA6-3ADE-5304E70832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65086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0E625-63BD-C39B-B76A-90B5BD89F9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86C3E36-EC68-D867-11EB-18E4EF426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AD596FA-2622-3AD5-F3E2-5E761DA424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0D59A9E-29F0-1345-6DDE-E0600F8867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66868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88B3F3-0214-DE18-1C5D-21804C5766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5064FBD-E032-962D-111A-E70ED33A47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C68F4D1-4B7E-20EF-6EB2-386D3DA08B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BE0895-755A-4449-925A-972495C6B4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90559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942C3B-09E6-17E4-414B-CD7FC309DD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C66C0ED-B769-918A-754E-DF0AEEA0BB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D90C322-3FAC-386B-E02F-594085924D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378AE5-D43E-2253-8990-BEAA1D0B13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7760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EA276C-40CE-E50A-AADD-AC3CE62B34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E8C52AF-D307-B9C7-696D-461DC9C35D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3DAC46F-5965-2E83-93CE-AB811A154B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8D27BB-3F10-FBE3-5A8F-12E1436D3E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0017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2D6C7-4214-ABFC-B7BC-7268C3D6B9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CBABDEE-3A33-68AF-ABBC-728E36216B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4FAB06E-C6F3-273B-C1D4-49427C88DD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E4C41E1-0DD6-8637-77AB-A56A9BEC5E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212731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FDD674-981E-99A9-D04A-EF4F5C542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33E0661-2F6C-C746-B8B0-AACD8E465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C32DDE7-7A1F-74E8-D1D7-05DA823E08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8C650E-60C2-9560-62BE-3D8B0B68A2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830404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B24B1E-5995-0077-19BA-9A1125CEEA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B420DB3-4A5F-85B8-E2D5-CC36294A86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DD1022F-3272-DEB9-C80F-94325253E5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BCD2D6-EA25-1E36-8690-1CE048EEEA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37871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AE0012-D927-CAAE-A864-2AB171B20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FE8FE73-4D45-56AB-45F9-ADB155319E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600C01D-51CA-9D09-88AE-7521C5F62F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C560E1-151F-553C-F7D6-39835E26C3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08426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51A9B2-8C15-F7E7-0B3D-118878708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D3D7E62-D850-0D2E-9755-54FFFACA8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816E420-087F-D292-14D8-D15D80239C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888CC9-79DD-072D-7E60-8572424B4A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9450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163A0A-E763-2F09-4649-FFF558B10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6F4BC65-F908-5A37-8291-D35AE6D256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960BF7-926A-9011-5B41-CCA8FF5C9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000C63-F403-BD1F-27D8-88EB56545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90567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2912F-8132-82B2-195D-C042C12665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B378E39-E189-A0F1-DF43-2BB77BD02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9F1F184-3216-C1BE-3DE4-EC863B17C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375C99-B1B5-3801-4494-D97462C5CA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039229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2A5A1-61D8-FBDC-7828-F9E2A05663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F0F05C1-4A93-0F08-08D3-65559504E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9D7B03C-8611-93A4-FE4C-BB3C8DD1CB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B6CF04-1E40-B9BB-184A-A81BB67F28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826009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7901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8850B-A562-D8B2-CEA4-3847D50A0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51CEE87-4B9F-1381-95F0-A0A5994F7E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8B58230-692A-7827-ACFA-0D9A813F1B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897188-0ECC-56ED-9DC1-BA1A88F61B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3485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6A7A30-5AC5-A672-B92D-35065C38D8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CF019BD-819A-86CC-EDDE-4FCF0B4AD6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7F540B4-186C-A1B2-E1D5-5F76C22A59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EF427F-1DAE-04C9-3DE0-4586CF1A0D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79029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B8325D-5232-CBBC-AEEF-9CAC5EC32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F5E65D-82BF-B3EE-F0CD-327CAC7C90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B27B12-0ACD-B3BE-04E6-76A60208CB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C3187D-6206-84CB-9F1D-07976BD4AD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1905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3082C8-F5E1-09FF-225F-D4373BB1D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DBA6ECB-BB43-8FC7-5F38-CE6894C06F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4A7DB2E-0D76-13BF-3B3D-949642CDD0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1ED53C-0AB4-CEFC-D36A-0A4FF54DAD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8147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371D0-F093-2EB0-67C2-4278D8F174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747E159-4C2F-8DE5-0428-DFE058561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8ABB3E3-B685-61F7-6685-BE71DC3FF5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EEEB39-E893-14D3-2BA9-D1B90C271A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504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picture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79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9F91883-D766-4AAC-90B7-69A91534ED46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Esentation</a:t>
            </a:r>
            <a:r>
              <a:rPr lang="en-US" dirty="0"/>
              <a:t>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057681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D74BD4FA-483E-40DF-8079-45B5BE2F7DF2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882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093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9743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17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19977172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48DF53-2AA0-4D9F-A482-C8247EE2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8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48DF53-2AA0-4D9F-A482-C8247EE2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41446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48DF53-2AA0-4D9F-A482-C8247EE2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8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48DF53-2AA0-4D9F-A482-C8247EE2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Grafik 8">
            <a:extLst>
              <a:ext uri="{FF2B5EF4-FFF2-40B4-BE49-F238E27FC236}">
                <a16:creationId xmlns:a16="http://schemas.microsoft.com/office/drawing/2014/main" id="{EC2333C9-7C64-4C37-8085-3482C25F21FB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5534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DE717E-46C1-446C-AC0A-112EF61AB8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75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DE717E-46C1-446C-AC0A-112EF61AB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A18A666-963B-452E-AD8E-146C9F2ACCD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200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773889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04FCD6D-FEBB-4B98-A8C4-8431CC99C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9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04FCD6D-FEBB-4B98-A8C4-8431CC99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4AB2A2-5C36-4389-B017-BFC52E120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5180" y="3485339"/>
            <a:ext cx="2446020" cy="326004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90000" tIns="43200" rIns="90000" bIns="43200" anchor="ctr">
            <a:spAutoFit/>
          </a:bodyPr>
          <a:lstStyle>
            <a:lvl1pPr marL="0" indent="0" algn="ctr">
              <a:buNone/>
              <a:defRPr sz="9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Find Out more on henkel.com</a:t>
            </a:r>
          </a:p>
        </p:txBody>
      </p:sp>
      <p:sp>
        <p:nvSpPr>
          <p:cNvPr id="9" name="Grafik 8">
            <a:extLst>
              <a:ext uri="{FF2B5EF4-FFF2-40B4-BE49-F238E27FC236}">
                <a16:creationId xmlns:a16="http://schemas.microsoft.com/office/drawing/2014/main" id="{8C3A2EF6-6C94-4211-862D-30B55989F42C}"/>
              </a:ext>
            </a:extLst>
          </p:cNvPr>
          <p:cNvSpPr/>
          <p:nvPr userDrawn="1"/>
        </p:nvSpPr>
        <p:spPr bwMode="gray">
          <a:xfrm>
            <a:off x="3552350" y="1677370"/>
            <a:ext cx="2017870" cy="1125096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695239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 column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2BA29D9-2E45-4D20-9CC6-912FB35995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44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2BA29D9-2E45-4D20-9CC6-912FB3599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B1C7942-B3D3-4A92-ADA0-4EE61A866B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6613" y="2572544"/>
            <a:ext cx="4497387" cy="2572544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3919060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3919060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77E2C503-FE7A-4518-BEC3-004C1581993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46613" y="0"/>
            <a:ext cx="4497387" cy="2572544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61942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58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C7FC146F-8647-4DFB-A98F-1133452643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01BF756-A092-4664-A90D-C8A1CD33A9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190666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664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84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147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AB3D9F52-0B6D-4547-AF18-EBEAA3D5E55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EDD65B7E-6040-41A8-A16D-05D3AEB068A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1257186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576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8674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730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9E3449E0-CEB3-4C53-976C-0734C47EA5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B6C3185-E1E7-43BF-BD7C-7DF1B7768DE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54730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71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8664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143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5A4EA6A3-1751-425A-9487-70CE502884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2277825A-FEB6-4466-BA6B-EBB1C70D31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9635521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5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5017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5036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BA0DD509-B738-4671-8F78-20AAE2CDA5E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1FAABEB8-81DC-419C-8394-06085D9E248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71847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02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9F91883-D766-4AAC-90B7-69A91534ED46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PrEsentation</a:t>
            </a:r>
            <a:r>
              <a:rPr lang="en-US" dirty="0"/>
              <a:t>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D74BD4FA-483E-40DF-8079-45B5BE2F7DF2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5B69B33-5E60-4C3B-AAD7-7D7122C27D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37E4806C-BD18-4D90-B0E2-E72442B67C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985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530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4052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0838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A91B005A-8220-48D4-B553-056F8953FC2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3CD252B3-C0F4-4966-ABC7-4D25D3A9CA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430032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93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8704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59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8C3FDDC2-8DC2-466D-9F5C-90CA7A4923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7F7A5A2-C1FC-4B22-A850-FB8A5DF6235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659820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78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7622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361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21BE8A37-8162-4CAE-BD0C-5619002136F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8DDB3A38-E08B-4242-9771-6BD1A596F9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378976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966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9857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281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9E0B457A-2C7B-4D8B-B0CE-5A239865D5C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B0B4E035-3347-4C5E-8B56-4A09B3AF5AE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01218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09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8652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74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57DA8024-86D7-42BE-9453-625CDA9BDA4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4EC617B1-073A-444A-AC02-4ADF3782DE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452072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, red wr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78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rafik 8">
            <a:extLst>
              <a:ext uri="{FF2B5EF4-FFF2-40B4-BE49-F238E27FC236}">
                <a16:creationId xmlns:a16="http://schemas.microsoft.com/office/drawing/2014/main" id="{FD4CCEA9-2FCB-4868-B0FB-5518BA95DE56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144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A67207-ECFF-4FE5-8129-B630D87FA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/>
            </a:lvl1pPr>
          </a:lstStyle>
          <a:p>
            <a:r>
              <a:rPr lang="en-US" dirty="0"/>
              <a:t>Presentation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</p:spTree>
    <p:extLst>
      <p:ext uri="{BB962C8B-B14F-4D97-AF65-F5344CB8AC3E}">
        <p14:creationId xmlns:p14="http://schemas.microsoft.com/office/powerpoint/2010/main" val="19237908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466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289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49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0616784-71D5-4539-BD85-050D2DF5C3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5814BA38-9E60-4374-ADCB-F7D6526F81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555411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83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7279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641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2D539E2E-F4B3-4C70-ACF7-A9231130E36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18D4241-549D-43A0-8E29-A01969CE91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240542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394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2662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357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D852C848-C659-49BA-8563-14F594D465F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54F89500-C6C2-41FE-9AB7-437D988992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6593516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694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8599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1492250"/>
            <a:ext cx="7091363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7" y="1904999"/>
            <a:ext cx="7091363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9399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558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21717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21717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F7F08D6-CCB1-4EE6-B8BB-4FBC4A8569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195638" y="1492250"/>
            <a:ext cx="2176462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904999"/>
            <a:ext cx="2176462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00	Topic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F18E8CB-CD03-40C6-B7D1-87326F397A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3048000" cy="514508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0460794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3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21717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21717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F7F08D6-CCB1-4EE6-B8BB-4FBC4A8569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195638" y="1492250"/>
            <a:ext cx="2176462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904999"/>
            <a:ext cx="2176462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6528EAF-06EF-4E10-9756-97CCFAF215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096000" y="1492250"/>
            <a:ext cx="2174876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6E84559-1973-4240-B47D-733F095B87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096000" y="1904999"/>
            <a:ext cx="2174875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756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, white wr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389BCF4-C99D-48D8-9A74-2007D279C2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76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389BCF4-C99D-48D8-9A74-2007D279C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rafik 8">
            <a:extLst>
              <a:ext uri="{FF2B5EF4-FFF2-40B4-BE49-F238E27FC236}">
                <a16:creationId xmlns:a16="http://schemas.microsoft.com/office/drawing/2014/main" id="{FD4CCEA9-2FCB-4868-B0FB-5518BA95DE56}"/>
              </a:ext>
            </a:extLst>
          </p:cNvPr>
          <p:cNvSpPr/>
          <p:nvPr userDrawn="1"/>
        </p:nvSpPr>
        <p:spPr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A67207-ECFF-4FE5-8129-B630D87FA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</p:spTree>
    <p:extLst>
      <p:ext uri="{BB962C8B-B14F-4D97-AF65-F5344CB8AC3E}">
        <p14:creationId xmlns:p14="http://schemas.microsoft.com/office/powerpoint/2010/main" val="12936785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8">
            <a:extLst>
              <a:ext uri="{FF2B5EF4-FFF2-40B4-BE49-F238E27FC236}">
                <a16:creationId xmlns:a16="http://schemas.microsoft.com/office/drawing/2014/main" id="{681CA2B5-B3EC-EFD0-0165-287FB94747FE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E9C5768F-A271-0CD9-016B-E33207FD36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51BC0A0F-BCA0-884E-FEC9-058147DBD2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0BF5F6B-6587-BDA8-247B-5561F18202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069108" y="149225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A2E040A5-7BEB-D530-C6AA-370B415C84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69108" y="190499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9D549421-13D5-1A97-7588-7756D665CB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50878" y="1498601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EBC5DC18-F45D-484B-99C2-E4D52B69F6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50878" y="1911350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3CE7AE54-6D0D-3CE5-41E0-4CC80C2443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19254" y="149860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4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86F0B5B2-D93A-A803-4782-3186BCD252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619254" y="191134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32" name="Textplatzhalter 12">
            <a:extLst>
              <a:ext uri="{FF2B5EF4-FFF2-40B4-BE49-F238E27FC236}">
                <a16:creationId xmlns:a16="http://schemas.microsoft.com/office/drawing/2014/main" id="{C2FD2604-576A-5D04-1FC5-EC66519248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393633" y="149860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5</a:t>
            </a:r>
          </a:p>
        </p:txBody>
      </p:sp>
      <p:sp>
        <p:nvSpPr>
          <p:cNvPr id="33" name="Textplatzhalter 16">
            <a:extLst>
              <a:ext uri="{FF2B5EF4-FFF2-40B4-BE49-F238E27FC236}">
                <a16:creationId xmlns:a16="http://schemas.microsoft.com/office/drawing/2014/main" id="{DFF3E3DD-53BE-A21A-0CC1-229C83FF6F8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393633" y="191134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4899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492251"/>
            <a:ext cx="2171700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492251"/>
            <a:ext cx="2176462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6E84559-1973-4240-B47D-733F095B87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096000" y="1492251"/>
            <a:ext cx="2174875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0109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AB7100B-7991-48A5-9EB9-E14CDAF88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48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AB7100B-7991-48A5-9EB9-E14CDAF88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AEC7E7D-A48B-4845-9B3C-BCF4ED6EB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8389829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AB7100B-7991-48A5-9EB9-E14CDAF88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248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AB7100B-7991-48A5-9EB9-E14CDAF88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4A0FEDB5-55F9-4E87-8B03-149544ABDF68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AEC7E7D-A48B-4845-9B3C-BCF4ED6EB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9" name="Grafik 8">
            <a:extLst>
              <a:ext uri="{FF2B5EF4-FFF2-40B4-BE49-F238E27FC236}">
                <a16:creationId xmlns:a16="http://schemas.microsoft.com/office/drawing/2014/main" id="{E090A17D-1ADA-4C44-BB80-67CAA3C46B3E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90086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BC2A01-E2BE-4156-8757-2C2BD7738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16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BC2A01-E2BE-4156-8757-2C2BD7738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7091362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7091362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872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C2AE64E-F763-43E8-B948-FA922006A3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444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C2AE64E-F763-43E8-B948-FA922006A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096000" y="0"/>
            <a:ext cx="3048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2040340"/>
            <a:ext cx="564118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366681" y="275904"/>
            <a:ext cx="2474107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66681" y="642938"/>
            <a:ext cx="2475694" cy="372903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53567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+ margin colum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3AA824B-4E89-41EC-8BF6-3AD4211A3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08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3AA824B-4E89-41EC-8BF6-3AD4211A3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096000" y="0"/>
            <a:ext cx="3048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2040340"/>
            <a:ext cx="564118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0"/>
            <a:ext cx="3048000" cy="2572544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366681" y="2816698"/>
            <a:ext cx="2474107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66681" y="3183732"/>
            <a:ext cx="2475694" cy="1188244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656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2337D2E-40FD-4DFC-A64D-11F24C4DE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956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2337D2E-40FD-4DFC-A64D-11F24C4DE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274320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9900" y="0"/>
            <a:ext cx="23241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57BE55-A82C-43C5-BC22-EC149179F2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95638" y="2040339"/>
            <a:ext cx="2743200" cy="233163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Eben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15174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2BA29D9-2E45-4D20-9CC6-912FB35995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44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2BA29D9-2E45-4D20-9CC6-912FB3599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B1C7942-B3D3-4A92-ADA0-4EE61A866B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6612" y="0"/>
            <a:ext cx="44973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3919060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3919060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53926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8230CB-E2F4-40C5-9C78-3586D0387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074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8230CB-E2F4-40C5-9C78-3586D0387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2061ABB-95F0-4F98-908C-BBEE7A944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697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, 3:9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2CD0F60-54F1-4706-9782-ECB2DFD90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4940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2CD0F60-54F1-4706-9782-ECB2DFD90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FF86CBD-3364-4092-8856-8EC6D722C1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9788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, 9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1BA4EA-FFD8-48F8-8F25-E109FBD24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9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1BA4EA-FFD8-48F8-8F25-E109FBD24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2061ABB-95F0-4F98-908C-BBEE7A944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6675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0EBA6552-EDE0-43A1-872A-5D55F492E5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667500" y="0"/>
            <a:ext cx="24765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8181369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D29FA0-F976-4260-84A2-6CE203644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21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D29FA0-F976-4260-84A2-6CE203644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B63E13F-EA80-4906-83BE-4F928DDD7D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6668306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668306" y="0"/>
            <a:ext cx="2475694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71912" y="275904"/>
            <a:ext cx="1868876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72299" y="642938"/>
            <a:ext cx="1870075" cy="372903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557845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E3FC7EB-ADE5-443B-9A42-367A15378C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023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E3FC7EB-ADE5-443B-9A42-367A15378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274320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9900" y="0"/>
            <a:ext cx="2324100" cy="342900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57BE55-A82C-43C5-BC22-EC149179F2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95638" y="2040339"/>
            <a:ext cx="2743200" cy="233163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4AD7E66-3095-412B-BE5D-B315C13255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19900" y="3429000"/>
            <a:ext cx="2324100" cy="1716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0215527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diagr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3AC4753-D114-477D-A7FB-1390A2494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486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3AC4753-D114-477D-A7FB-1390A2494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4572001" y="0"/>
            <a:ext cx="4572000" cy="5145088"/>
          </a:xfrm>
          <a:prstGeom prst="rect">
            <a:avLst/>
          </a:prstGeom>
          <a:solidFill>
            <a:srgbClr val="FA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4194968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4194968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4194968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4E4E41-C1A8-4AFE-89E9-54339DC330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91101" y="306387"/>
            <a:ext cx="3851274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Diagram title, Segoe UI, 12pt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4D4C68-FDFC-4FE6-A3A0-24378231AC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1101" y="652858"/>
            <a:ext cx="3851274" cy="265907"/>
          </a:xfrm>
        </p:spPr>
        <p:txBody>
          <a:bodyPr>
            <a:noAutofit/>
          </a:bodyPr>
          <a:lstStyle>
            <a:lvl1pPr marL="0" indent="0" rtl="0">
              <a:buNone/>
              <a:defRPr sz="800"/>
            </a:lvl1pPr>
          </a:lstStyle>
          <a:p>
            <a:pPr lvl="0"/>
            <a:r>
              <a:rPr lang="en-US" dirty="0"/>
              <a:t>Description Diagram, Segoe UI, 8pt</a:t>
            </a:r>
          </a:p>
        </p:txBody>
      </p:sp>
      <p:sp>
        <p:nvSpPr>
          <p:cNvPr id="15" name="Diagrammplatzhalter 14">
            <a:extLst>
              <a:ext uri="{FF2B5EF4-FFF2-40B4-BE49-F238E27FC236}">
                <a16:creationId xmlns:a16="http://schemas.microsoft.com/office/drawing/2014/main" id="{20B37BD7-45FF-41A0-AB59-B76A319E6D94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991100" y="1076916"/>
            <a:ext cx="3851273" cy="3295060"/>
          </a:xfrm>
        </p:spPr>
        <p:txBody>
          <a:bodyPr/>
          <a:lstStyle>
            <a:lvl1pPr marL="0" indent="0" rtl="0">
              <a:buNone/>
              <a:defRPr sz="800"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13D4DFC2-F6C7-49FF-AB28-76635678DC07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07513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F165371-590F-40AB-9425-F5684413E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411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F165371-590F-40AB-9425-F5684413E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618DC39-80CC-4F5E-8FB8-24DAE4535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7A86BD-6A47-4B6A-BA1B-DCCC0C012F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879D3C-EBE0-4AE4-8301-1247E1CF7D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518B60FF-2FC8-470D-A7A3-EC2AD45DA3B1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 bwMode="gray">
          <a:xfrm>
            <a:off x="300038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F3C30865-6727-4E30-BE8D-6E3CE051C0A7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3195638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0A7EB19F-EEBD-412C-AC27-DD00650D0913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100763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701712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8CB916D-D210-4BC5-AA19-30E94CD9E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6329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8CB916D-D210-4BC5-AA19-30E94CD9E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0CFC28F-EC47-4DDB-8C5D-03309FB39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EFA14A-D6E7-47FF-924E-E4CB909803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0A9710-C66C-461A-BEF7-CAD1B717F3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abellenplatzhalter 5">
            <a:extLst>
              <a:ext uri="{FF2B5EF4-FFF2-40B4-BE49-F238E27FC236}">
                <a16:creationId xmlns:a16="http://schemas.microsoft.com/office/drawing/2014/main" id="{B7A2A10A-2613-4F52-86A9-C634AD0C4E6E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300038" y="1492250"/>
            <a:ext cx="8542337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tab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511595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C17D092-076B-4C8E-ACAE-CBD429D29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16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C17D092-076B-4C8E-ACAE-CBD429D29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4572001" y="0"/>
            <a:ext cx="4572000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4194968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4194968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4194968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7559CB0D-6B98-425D-BF5E-BB01C79AC836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17000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C17D092-076B-4C8E-ACAE-CBD429D29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408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C17D092-076B-4C8E-ACAE-CBD429D29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0" y="0"/>
            <a:ext cx="9144001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303212"/>
            <a:ext cx="8539955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, 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39CB7AFC-62B1-4A25-AE97-E2B9062BF220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86743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D29FA0-F976-4260-84A2-6CE203644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82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D29FA0-F976-4260-84A2-6CE203644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EAF814B-61FB-4BA3-A28A-7985FCA4803E}"/>
              </a:ext>
            </a:extLst>
          </p:cNvPr>
          <p:cNvSpPr/>
          <p:nvPr userDrawn="1"/>
        </p:nvSpPr>
        <p:spPr>
          <a:xfrm>
            <a:off x="0" y="0"/>
            <a:ext cx="9144001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819900" y="0"/>
            <a:ext cx="23241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F6167EC-44E4-4CBB-914D-65AC12E79F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7057696" y="275904"/>
            <a:ext cx="1783333" cy="156902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sz="1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Segoe UI, 10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57103" y="585788"/>
            <a:ext cx="1784477" cy="378618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 sz="1000"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 sz="1000"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 sz="1000"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03691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C0F9577-92F1-475C-BAC8-4DAA145E77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27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C0F9577-92F1-475C-BAC8-4DAA145E77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30D59A4B-5427-4613-A316-5C5C738B1B49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E177734-E4F2-4A8B-8528-BFC692A7991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268986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AE4D0E1-24BE-4A9F-9B0C-319E32F754E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689860" y="0"/>
            <a:ext cx="268986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4" name="Grafik 8">
            <a:extLst>
              <a:ext uri="{FF2B5EF4-FFF2-40B4-BE49-F238E27FC236}">
                <a16:creationId xmlns:a16="http://schemas.microsoft.com/office/drawing/2014/main" id="{179908B5-EFBF-44AE-B5F4-6524DE4D1D24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AAA1064-7CA0-4E22-9F40-41A638ADFD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84837" y="298450"/>
            <a:ext cx="3157537" cy="156902"/>
          </a:xfrm>
        </p:spPr>
        <p:txBody>
          <a:bodyPr>
            <a:noAutofit/>
          </a:bodyPr>
          <a:lstStyle>
            <a:lvl1pPr marL="0" indent="0" rtl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opic, Segoe UI, 1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E6E806F-FE68-4081-AE5C-2EB33C38C4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84838" y="487045"/>
            <a:ext cx="3157538" cy="3884930"/>
          </a:xfrm>
        </p:spPr>
        <p:txBody>
          <a:bodyPr/>
          <a:lstStyle>
            <a:lvl1pPr marL="0" indent="0" rtl="0">
              <a:lnSpc>
                <a:spcPts val="5200"/>
              </a:lnSpc>
              <a:buNone/>
              <a:defRPr sz="5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m Or Numb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40EF66-897B-4BCE-8D84-2CEB6D04C6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255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2DB44EF-00C9-40A1-81CF-7324F4B99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422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2DB44EF-00C9-40A1-81CF-7324F4B99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0338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891FA5F-078F-4117-A495-CF038903B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891FA5F-078F-4117-A495-CF038903B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/>
          <p:nvPr userDrawn="1"/>
        </p:nvSpPr>
        <p:spPr bwMode="gray">
          <a:xfrm>
            <a:off x="300039" y="2286000"/>
            <a:ext cx="2019299" cy="208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/>
          <p:nvPr userDrawn="1"/>
        </p:nvSpPr>
        <p:spPr bwMode="gray">
          <a:xfrm>
            <a:off x="2319337" y="298448"/>
            <a:ext cx="3052763" cy="15712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00038" y="298449"/>
            <a:ext cx="2019298" cy="1987551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319338" y="1869743"/>
            <a:ext cx="3052762" cy="2502232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372100" y="298449"/>
            <a:ext cx="3470275" cy="40735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51882" y="2437606"/>
            <a:ext cx="1715612" cy="156902"/>
          </a:xfrm>
        </p:spPr>
        <p:txBody>
          <a:bodyPr>
            <a:noAutofit/>
          </a:bodyPr>
          <a:lstStyle>
            <a:lvl1pPr marL="0" indent="0" rtl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1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1882" y="2741616"/>
            <a:ext cx="1715612" cy="1506534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E3EC1BC-B6DD-43BD-AD6F-A77313948A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01872" y="571134"/>
            <a:ext cx="2487693" cy="1025922"/>
          </a:xfrm>
        </p:spPr>
        <p:txBody>
          <a:bodyPr anchor="ctr">
            <a:noAutofit/>
          </a:bodyPr>
          <a:lstStyle>
            <a:lvl1pPr marL="0" indent="0" rtl="0">
              <a:lnSpc>
                <a:spcPts val="4000"/>
              </a:lnSpc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m/ Number</a:t>
            </a:r>
          </a:p>
        </p:txBody>
      </p:sp>
    </p:spTree>
    <p:extLst>
      <p:ext uri="{BB962C8B-B14F-4D97-AF65-F5344CB8AC3E}">
        <p14:creationId xmlns:p14="http://schemas.microsoft.com/office/powerpoint/2010/main" val="13405106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3 text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2DC763-7C98-4BF7-8076-872F267E1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04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2DC763-7C98-4BF7-8076-872F267E1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3145805" y="1151887"/>
            <a:ext cx="2847600" cy="15227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84D0BC2-2BEA-4984-8BCC-B42A4DD96ABE}"/>
              </a:ext>
            </a:extLst>
          </p:cNvPr>
          <p:cNvSpPr>
            <a:spLocks/>
          </p:cNvSpPr>
          <p:nvPr userDrawn="1"/>
        </p:nvSpPr>
        <p:spPr>
          <a:xfrm>
            <a:off x="5991579" y="2849246"/>
            <a:ext cx="2850796" cy="15227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8" y="2849244"/>
            <a:ext cx="2845769" cy="15227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7" y="1151887"/>
            <a:ext cx="2845770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45805" y="2674620"/>
            <a:ext cx="2847600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92813" y="1151887"/>
            <a:ext cx="2849562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9" y="3070224"/>
            <a:ext cx="2281590" cy="110684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27746" y="1372866"/>
            <a:ext cx="2281896" cy="110765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95A11F8-0E42-4080-B86D-63341C6F3C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3516" y="3070226"/>
            <a:ext cx="2281896" cy="110886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D664C7-0545-4A14-9DCB-BE8E2F693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2548850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2 text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6BEC144-9259-411C-8919-2BAF1C6F1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76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6BEC144-9259-411C-8919-2BAF1C6F11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4577746" y="1151887"/>
            <a:ext cx="4264629" cy="15127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9" y="2858284"/>
            <a:ext cx="4277707" cy="15136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6" y="1151884"/>
            <a:ext cx="4277710" cy="1706400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7746" y="2664619"/>
            <a:ext cx="4264629" cy="170735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8" y="3086884"/>
            <a:ext cx="3707066" cy="104894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51034" y="1380487"/>
            <a:ext cx="3708000" cy="104838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E947B689-263C-46D8-BD1A-F32003D46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0121260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2DC763-7C98-4BF7-8076-872F267E1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1775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2DC763-7C98-4BF7-8076-872F267E1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3145805" y="298447"/>
            <a:ext cx="2847600" cy="19193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84D0BC2-2BEA-4984-8BCC-B42A4DD96ABE}"/>
              </a:ext>
            </a:extLst>
          </p:cNvPr>
          <p:cNvSpPr>
            <a:spLocks/>
          </p:cNvSpPr>
          <p:nvPr userDrawn="1"/>
        </p:nvSpPr>
        <p:spPr>
          <a:xfrm>
            <a:off x="5991579" y="2490716"/>
            <a:ext cx="2850796" cy="18812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8" y="2490716"/>
            <a:ext cx="2845769" cy="18812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7" y="298449"/>
            <a:ext cx="2845770" cy="2192267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45805" y="2217759"/>
            <a:ext cx="2847600" cy="215421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92813" y="298450"/>
            <a:ext cx="2849562" cy="2192267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2130" y="2717054"/>
            <a:ext cx="2281590" cy="498598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9" y="3302000"/>
            <a:ext cx="2281590" cy="78422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0F7FBCD-4838-4858-9B02-5770B636A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7746" y="552096"/>
            <a:ext cx="2281896" cy="500400"/>
          </a:xfrm>
        </p:spPr>
        <p:txBody>
          <a:bodyPr/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27746" y="1124390"/>
            <a:ext cx="2281896" cy="784800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4410347-E07E-4B83-8D69-8A994CBA34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516" y="2717054"/>
            <a:ext cx="2281896" cy="500400"/>
          </a:xfrm>
        </p:spPr>
        <p:txBody>
          <a:bodyPr/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95A11F8-0E42-4080-B86D-63341C6F3C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3516" y="3300567"/>
            <a:ext cx="2281896" cy="78565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96701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6BEC144-9259-411C-8919-2BAF1C6F1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90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6BEC144-9259-411C-8919-2BAF1C6F11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4577746" y="298447"/>
            <a:ext cx="4264629" cy="1833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9" y="2538414"/>
            <a:ext cx="4277707" cy="1833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6" y="298449"/>
            <a:ext cx="4277710" cy="223996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7746" y="2132009"/>
            <a:ext cx="4264629" cy="223996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2128" y="2807547"/>
            <a:ext cx="3707066" cy="249299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8" y="3154368"/>
            <a:ext cx="3707066" cy="95090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0F7FBCD-4838-4858-9B02-5770B636A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51034" y="606687"/>
            <a:ext cx="3708000" cy="249299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51034" y="943794"/>
            <a:ext cx="3708000" cy="950400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35761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718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72912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re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26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5619" cy="1538883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8167987-BC69-4A2B-82A3-6F7D3BE6823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3668404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58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15721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293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4133397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632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05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768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3B413B13-55F7-41C0-B98C-8841607428B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3E68A076-ECA3-4C3F-8ACE-FCDA132B0E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4629265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482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6432899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475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1122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49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6280174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0105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28789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28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5814220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70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94923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143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8625145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3391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67383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910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3975046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77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1342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7560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7681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84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65682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46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04449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239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5507860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557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59261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466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9985836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531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3252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505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7932544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9575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5847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95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96917329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439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5569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0305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CA9CA93-6B6D-4933-A4DB-3993CCDEF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499F140C-09BF-423D-A0CC-184EF5A56DD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5313651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616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0473585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523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4761507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185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32388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493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311453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031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554397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74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52880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48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5531769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605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Quote, </a:t>
            </a:r>
            <a:br>
              <a:rPr lang="en-US" noProof="0"/>
            </a:br>
            <a:r>
              <a:rPr lang="en-US" noProof="0"/>
              <a:t>Segoe UI, 40pt, </a:t>
            </a:r>
            <a:br>
              <a:rPr lang="en-US" noProof="0"/>
            </a:br>
            <a:r>
              <a:rPr lang="en-US" noProof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17990526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587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382823937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430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229041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tags" Target="../tags/tag2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oleObject" Target="../embeddings/oleObject1.bin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image" Target="../media/image1.emf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3C7373-B062-49D1-95CD-2D40ADE59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7"/>
            </p:custDataLst>
            <p:extLst>
              <p:ext uri="{D42A27DB-BD31-4B8C-83A1-F6EECF244321}">
                <p14:modId xmlns:p14="http://schemas.microsoft.com/office/powerpoint/2010/main" val="25056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8" imgW="306" imgH="306" progId="TCLayout.ActiveDocument.1">
                  <p:embed/>
                </p:oleObj>
              </mc:Choice>
              <mc:Fallback>
                <p:oleObj name="think-cell Folie" r:id="rId108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3C7373-B062-49D1-95CD-2D40ADE59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02420" y="303212"/>
            <a:ext cx="7091362" cy="6155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Slide Title, Segoe UI, 24pt</a:t>
            </a:r>
            <a:br>
              <a:rPr lang="en-US" noProof="0" dirty="0"/>
            </a:br>
            <a:r>
              <a:rPr lang="en-US" noProof="0" dirty="0"/>
              <a:t>Max.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02420" y="1492251"/>
            <a:ext cx="7088980" cy="28797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, Segoe UI, 12pt 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618649" y="4733844"/>
            <a:ext cx="3151664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300038" y="4733844"/>
            <a:ext cx="318611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Grafik 8">
            <a:extLst>
              <a:ext uri="{FF2B5EF4-FFF2-40B4-BE49-F238E27FC236}">
                <a16:creationId xmlns:a16="http://schemas.microsoft.com/office/drawing/2014/main" id="{7BF37C91-00E2-47BD-94A0-102999D00519}"/>
              </a:ext>
            </a:extLst>
          </p:cNvPr>
          <p:cNvSpPr/>
          <p:nvPr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1074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78" r:id="rId2"/>
    <p:sldLayoutId id="2147483661" r:id="rId3"/>
    <p:sldLayoutId id="2147483672" r:id="rId4"/>
    <p:sldLayoutId id="2147483673" r:id="rId5"/>
    <p:sldLayoutId id="2147483674" r:id="rId6"/>
    <p:sldLayoutId id="2147483708" r:id="rId7"/>
    <p:sldLayoutId id="2147483709" r:id="rId8"/>
    <p:sldLayoutId id="2147483710" r:id="rId9"/>
    <p:sldLayoutId id="2147483711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  <p:sldLayoutId id="2147483741" r:id="rId33"/>
    <p:sldLayoutId id="2147483742" r:id="rId34"/>
    <p:sldLayoutId id="2147483743" r:id="rId35"/>
    <p:sldLayoutId id="2147483744" r:id="rId36"/>
    <p:sldLayoutId id="2147483780" r:id="rId37"/>
    <p:sldLayoutId id="2147483713" r:id="rId38"/>
    <p:sldLayoutId id="2147483677" r:id="rId39"/>
    <p:sldLayoutId id="2147483782" r:id="rId40"/>
    <p:sldLayoutId id="2147483781" r:id="rId41"/>
    <p:sldLayoutId id="2147483675" r:id="rId42"/>
    <p:sldLayoutId id="2147483775" r:id="rId43"/>
    <p:sldLayoutId id="2147483676" r:id="rId44"/>
    <p:sldLayoutId id="2147483685" r:id="rId45"/>
    <p:sldLayoutId id="2147483686" r:id="rId46"/>
    <p:sldLayoutId id="2147483687" r:id="rId47"/>
    <p:sldLayoutId id="2147483688" r:id="rId48"/>
    <p:sldLayoutId id="2147483689" r:id="rId49"/>
    <p:sldLayoutId id="2147483690" r:id="rId50"/>
    <p:sldLayoutId id="2147483692" r:id="rId51"/>
    <p:sldLayoutId id="2147483693" r:id="rId52"/>
    <p:sldLayoutId id="2147483695" r:id="rId53"/>
    <p:sldLayoutId id="2147483696" r:id="rId54"/>
    <p:sldLayoutId id="2147483697" r:id="rId55"/>
    <p:sldLayoutId id="2147483698" r:id="rId56"/>
    <p:sldLayoutId id="2147483716" r:id="rId57"/>
    <p:sldLayoutId id="2147483718" r:id="rId58"/>
    <p:sldLayoutId id="2147483704" r:id="rId59"/>
    <p:sldLayoutId id="2147483705" r:id="rId60"/>
    <p:sldLayoutId id="2147483776" r:id="rId61"/>
    <p:sldLayoutId id="2147483777" r:id="rId62"/>
    <p:sldLayoutId id="2147483706" r:id="rId63"/>
    <p:sldLayoutId id="2147483707" r:id="rId64"/>
    <p:sldLayoutId id="2147483714" r:id="rId65"/>
    <p:sldLayoutId id="2147483715" r:id="rId66"/>
    <p:sldLayoutId id="2147483745" r:id="rId67"/>
    <p:sldLayoutId id="2147483746" r:id="rId68"/>
    <p:sldLayoutId id="2147483747" r:id="rId69"/>
    <p:sldLayoutId id="2147483748" r:id="rId70"/>
    <p:sldLayoutId id="2147483749" r:id="rId71"/>
    <p:sldLayoutId id="2147483750" r:id="rId72"/>
    <p:sldLayoutId id="2147483751" r:id="rId73"/>
    <p:sldLayoutId id="2147483752" r:id="rId74"/>
    <p:sldLayoutId id="2147483753" r:id="rId75"/>
    <p:sldLayoutId id="2147483754" r:id="rId76"/>
    <p:sldLayoutId id="2147483755" r:id="rId77"/>
    <p:sldLayoutId id="2147483756" r:id="rId78"/>
    <p:sldLayoutId id="2147483683" r:id="rId79"/>
    <p:sldLayoutId id="2147483684" r:id="rId80"/>
    <p:sldLayoutId id="2147483757" r:id="rId81"/>
    <p:sldLayoutId id="2147483758" r:id="rId82"/>
    <p:sldLayoutId id="2147483759" r:id="rId83"/>
    <p:sldLayoutId id="2147483760" r:id="rId84"/>
    <p:sldLayoutId id="2147483761" r:id="rId85"/>
    <p:sldLayoutId id="2147483762" r:id="rId86"/>
    <p:sldLayoutId id="2147483763" r:id="rId87"/>
    <p:sldLayoutId id="2147483764" r:id="rId88"/>
    <p:sldLayoutId id="2147483765" r:id="rId89"/>
    <p:sldLayoutId id="2147483766" r:id="rId90"/>
    <p:sldLayoutId id="2147483767" r:id="rId91"/>
    <p:sldLayoutId id="2147483768" r:id="rId92"/>
    <p:sldLayoutId id="2147483769" r:id="rId93"/>
    <p:sldLayoutId id="2147483770" r:id="rId94"/>
    <p:sldLayoutId id="2147483771" r:id="rId95"/>
    <p:sldLayoutId id="2147483772" r:id="rId96"/>
    <p:sldLayoutId id="2147483717" r:id="rId97"/>
    <p:sldLayoutId id="2147483699" r:id="rId98"/>
    <p:sldLayoutId id="2147483773" r:id="rId99"/>
    <p:sldLayoutId id="2147483774" r:id="rId100"/>
    <p:sldLayoutId id="2147483700" r:id="rId101"/>
    <p:sldLayoutId id="2147483779" r:id="rId102"/>
    <p:sldLayoutId id="2147483701" r:id="rId103"/>
    <p:sldLayoutId id="2147483702" r:id="rId104"/>
    <p:sldLayoutId id="2147483783" r:id="rId105"/>
  </p:sldLayoutIdLst>
  <p:hf hdr="0" dt="0"/>
  <p:txStyles>
    <p:titleStyle>
      <a:lvl1pPr algn="l" defTabSz="685800" rtl="0" eaLnBrk="1" latinLnBrk="0" hangingPunct="1">
        <a:lnSpc>
          <a:spcPts val="24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2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22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90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458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26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9" userDrawn="1">
          <p15:clr>
            <a:srgbClr val="A4A3A4"/>
          </p15:clr>
        </p15:guide>
        <p15:guide id="5" orient="horz" pos="188" userDrawn="1">
          <p15:clr>
            <a:srgbClr val="A4A3A4"/>
          </p15:clr>
        </p15:guide>
        <p15:guide id="7" orient="horz" pos="3052" userDrawn="1">
          <p15:clr>
            <a:srgbClr val="A4A3A4"/>
          </p15:clr>
        </p15:guide>
        <p15:guide id="8" pos="549" userDrawn="1">
          <p15:clr>
            <a:srgbClr val="A4A3A4"/>
          </p15:clr>
        </p15:guide>
        <p15:guide id="9" pos="645" userDrawn="1">
          <p15:clr>
            <a:srgbClr val="A4A3A4"/>
          </p15:clr>
        </p15:guide>
        <p15:guide id="10" pos="1005" userDrawn="1">
          <p15:clr>
            <a:srgbClr val="A4A3A4"/>
          </p15:clr>
        </p15:guide>
        <p15:guide id="11" pos="1101" userDrawn="1">
          <p15:clr>
            <a:srgbClr val="A4A3A4"/>
          </p15:clr>
        </p15:guide>
        <p15:guide id="12" pos="1461" userDrawn="1">
          <p15:clr>
            <a:srgbClr val="A4A3A4"/>
          </p15:clr>
        </p15:guide>
        <p15:guide id="13" pos="1557" userDrawn="1">
          <p15:clr>
            <a:srgbClr val="A4A3A4"/>
          </p15:clr>
        </p15:guide>
        <p15:guide id="14" pos="1917" userDrawn="1">
          <p15:clr>
            <a:srgbClr val="A4A3A4"/>
          </p15:clr>
        </p15:guide>
        <p15:guide id="15" pos="2013" userDrawn="1">
          <p15:clr>
            <a:srgbClr val="A4A3A4"/>
          </p15:clr>
        </p15:guide>
        <p15:guide id="16" pos="2375" userDrawn="1">
          <p15:clr>
            <a:srgbClr val="A4A3A4"/>
          </p15:clr>
        </p15:guide>
        <p15:guide id="17" pos="2471" userDrawn="1">
          <p15:clr>
            <a:srgbClr val="A4A3A4"/>
          </p15:clr>
        </p15:guide>
        <p15:guide id="18" pos="2832" userDrawn="1">
          <p15:clr>
            <a:srgbClr val="A4A3A4"/>
          </p15:clr>
        </p15:guide>
        <p15:guide id="19" pos="2927" userDrawn="1">
          <p15:clr>
            <a:srgbClr val="A4A3A4"/>
          </p15:clr>
        </p15:guide>
        <p15:guide id="20" pos="3288" userDrawn="1">
          <p15:clr>
            <a:srgbClr val="A4A3A4"/>
          </p15:clr>
        </p15:guide>
        <p15:guide id="21" pos="3384" userDrawn="1">
          <p15:clr>
            <a:srgbClr val="A4A3A4"/>
          </p15:clr>
        </p15:guide>
        <p15:guide id="22" pos="3744" userDrawn="1">
          <p15:clr>
            <a:srgbClr val="A4A3A4"/>
          </p15:clr>
        </p15:guide>
        <p15:guide id="23" pos="3840" userDrawn="1">
          <p15:clr>
            <a:srgbClr val="A4A3A4"/>
          </p15:clr>
        </p15:guide>
        <p15:guide id="24" pos="4200" userDrawn="1">
          <p15:clr>
            <a:srgbClr val="A4A3A4"/>
          </p15:clr>
        </p15:guide>
        <p15:guide id="25" pos="4296" userDrawn="1">
          <p15:clr>
            <a:srgbClr val="A4A3A4"/>
          </p15:clr>
        </p15:guide>
        <p15:guide id="26" pos="4656" userDrawn="1">
          <p15:clr>
            <a:srgbClr val="A4A3A4"/>
          </p15:clr>
        </p15:guide>
        <p15:guide id="27" pos="4752" userDrawn="1">
          <p15:clr>
            <a:srgbClr val="A4A3A4"/>
          </p15:clr>
        </p15:guide>
        <p15:guide id="28" pos="5114" userDrawn="1">
          <p15:clr>
            <a:srgbClr val="A4A3A4"/>
          </p15:clr>
        </p15:guide>
        <p15:guide id="29" pos="5210" userDrawn="1">
          <p15:clr>
            <a:srgbClr val="A4A3A4"/>
          </p15:clr>
        </p15:guide>
        <p15:guide id="31" pos="5570" userDrawn="1">
          <p15:clr>
            <a:srgbClr val="A4A3A4"/>
          </p15:clr>
        </p15:guide>
        <p15:guide id="32" orient="horz" pos="940" userDrawn="1">
          <p15:clr>
            <a:srgbClr val="A4A3A4"/>
          </p15:clr>
        </p15:guide>
        <p15:guide id="33" orient="horz" pos="275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5.xml"/><Relationship Id="rId6" Type="http://schemas.openxmlformats.org/officeDocument/2006/relationships/hyperlink" Target="https://www.w3schools.com/css/default.asp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6.xml"/><Relationship Id="rId6" Type="http://schemas.openxmlformats.org/officeDocument/2006/relationships/hyperlink" Target="https://developer.mozilla.org/en-US/play?uuid=3e65e618-2da2-429f-86b5-1cd4a745f7af&amp;state=ZY5Bi8IwEEb%2FyvidKki9V%2Bul7N2rkEtMRlM3nYR2Cor43yUt7GVPwzBvHu%2BNoENEg%2BN1Vk1CSVzs3W9r4Ea2ymc72vtoc6i2Bqeu3GjgzXG%2F8icj2MFNExpgh0eZt1mc9knon4HeRohckkkp29FSSz65eWDReoV%2FIpetMsgG20PBC1grP7VLoixKLRlc0kxLKHvSwLTWbAyWlz%2FpNflXbXNm8V3oo6%2BKrGg%2FS7cGHhgNYn8Pis8X&amp;srcPrefix=%2Fen-US%2Fdocs%2FLearn_web_development%2FCore%2FScripting%2FWhat_is_JavaScript%2F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7.xml"/><Relationship Id="rId6" Type="http://schemas.openxmlformats.org/officeDocument/2006/relationships/hyperlink" Target="https://javascript.info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0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Relationship Id="rId9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18.x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19.xml"/><Relationship Id="rId6" Type="http://schemas.openxmlformats.org/officeDocument/2006/relationships/image" Target="../media/image5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1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0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20.xml"/><Relationship Id="rId6" Type="http://schemas.openxmlformats.org/officeDocument/2006/relationships/image" Target="../media/image6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0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21.xml"/><Relationship Id="rId6" Type="http://schemas.openxmlformats.org/officeDocument/2006/relationships/image" Target="../media/image6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123.xml"/><Relationship Id="rId6" Type="http://schemas.openxmlformats.org/officeDocument/2006/relationships/image" Target="../media/image7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24.xml"/><Relationship Id="rId6" Type="http://schemas.openxmlformats.org/officeDocument/2006/relationships/image" Target="../media/image7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25.xml"/><Relationship Id="rId6" Type="http://schemas.openxmlformats.org/officeDocument/2006/relationships/image" Target="../media/image7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4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4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5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26.xml"/><Relationship Id="rId6" Type="http://schemas.openxmlformats.org/officeDocument/2006/relationships/image" Target="../media/image7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27.xml"/><Relationship Id="rId6" Type="http://schemas.openxmlformats.org/officeDocument/2006/relationships/image" Target="../media/image7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28.xml"/><Relationship Id="rId6" Type="http://schemas.openxmlformats.org/officeDocument/2006/relationships/image" Target="../media/image7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30.xml"/><Relationship Id="rId6" Type="http://schemas.openxmlformats.org/officeDocument/2006/relationships/image" Target="../media/image7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31.xml"/><Relationship Id="rId6" Type="http://schemas.openxmlformats.org/officeDocument/2006/relationships/image" Target="../media/image8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4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49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32.xml"/><Relationship Id="rId6" Type="http://schemas.openxmlformats.org/officeDocument/2006/relationships/image" Target="../media/image9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33.xml"/><Relationship Id="rId6" Type="http://schemas.openxmlformats.org/officeDocument/2006/relationships/image" Target="../media/image7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49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3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4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hyperlink" Target="https://jsonplaceholder.typicode.com/posts" TargetMode="External"/><Relationship Id="rId1" Type="http://schemas.openxmlformats.org/officeDocument/2006/relationships/slideLayout" Target="../slideLayouts/slideLayout4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43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4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4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34.xml"/><Relationship Id="rId6" Type="http://schemas.openxmlformats.org/officeDocument/2006/relationships/image" Target="../media/image9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43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43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35.xml"/><Relationship Id="rId6" Type="http://schemas.openxmlformats.org/officeDocument/2006/relationships/image" Target="../media/image7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36.xml"/><Relationship Id="rId6" Type="http://schemas.openxmlformats.org/officeDocument/2006/relationships/image" Target="../media/image10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7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37.xml"/><Relationship Id="rId6" Type="http://schemas.openxmlformats.org/officeDocument/2006/relationships/image" Target="../media/image10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38.xml"/><Relationship Id="rId6" Type="http://schemas.openxmlformats.org/officeDocument/2006/relationships/image" Target="../media/image10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03.xml"/><Relationship Id="rId1" Type="http://schemas.openxmlformats.org/officeDocument/2006/relationships/tags" Target="../tags/tag139.xml"/><Relationship Id="rId6" Type="http://schemas.openxmlformats.org/officeDocument/2006/relationships/image" Target="../media/image10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3.xml"/><Relationship Id="rId6" Type="http://schemas.openxmlformats.org/officeDocument/2006/relationships/hyperlink" Target="https://www.w3schools.com/html/default.asp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C383830-5B10-401A-BF10-E6E174481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C383830-5B10-401A-BF10-E6E174481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47FAEEF0-36B7-4481-8228-07ECAE5665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8" y="792000"/>
            <a:ext cx="7098924" cy="1731243"/>
          </a:xfrm>
        </p:spPr>
        <p:txBody>
          <a:bodyPr vert="horz"/>
          <a:lstStyle/>
          <a:p>
            <a:r>
              <a:rPr lang="en-US" dirty="0"/>
              <a:t>“Let’s Build Cool Websites with React JS!”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4DC78E09-2F5F-42ED-B40B-4690E044DA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915" y="2572544"/>
            <a:ext cx="2566128" cy="242122"/>
          </a:xfrm>
        </p:spPr>
        <p:txBody>
          <a:bodyPr/>
          <a:lstStyle/>
          <a:p>
            <a:pPr algn="ctr"/>
            <a:r>
              <a:rPr lang="en-US" dirty="0"/>
              <a:t>Priyanka MAThur            Nivedha ASOKAN</a:t>
            </a:r>
          </a:p>
        </p:txBody>
      </p:sp>
    </p:spTree>
    <p:extLst>
      <p:ext uri="{BB962C8B-B14F-4D97-AF65-F5344CB8AC3E}">
        <p14:creationId xmlns:p14="http://schemas.microsoft.com/office/powerpoint/2010/main" val="28619701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2D1AF3-D3D8-26CA-6712-FF80E7C153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201B2B-6FBE-1518-749E-094CB72C7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201B2B-6FBE-1518-749E-094CB72C7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2435C8A0-E6F4-F5C0-582C-98AF3DA99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CS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4219D5-4ACA-2500-793E-9221D47D0A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A55EF68-3E1A-AD15-B47C-0A9CD1EABE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6033B35-304A-9B55-69C9-6BBBAD88EC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3417" y="1171173"/>
            <a:ext cx="7091362" cy="188321"/>
          </a:xfrm>
        </p:spPr>
        <p:txBody>
          <a:bodyPr/>
          <a:lstStyle/>
          <a:p>
            <a:r>
              <a:rPr lang="en-US" dirty="0"/>
              <a:t>CSS (Cascading Style Sheets) – Desig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07832E-BE7E-D60F-ACC3-93B208E86D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3417" y="1683006"/>
            <a:ext cx="7091362" cy="2539005"/>
          </a:xfrm>
        </p:spPr>
        <p:txBody>
          <a:bodyPr/>
          <a:lstStyle/>
          <a:p>
            <a:r>
              <a:rPr lang="en-US" dirty="0"/>
              <a:t>CSS is the </a:t>
            </a:r>
            <a:r>
              <a:rPr lang="en-US" b="1" dirty="0"/>
              <a:t>clothing/decoration</a:t>
            </a:r>
            <a:r>
              <a:rPr lang="en-US" dirty="0"/>
              <a:t> of a web page.</a:t>
            </a:r>
          </a:p>
          <a:p>
            <a:r>
              <a:rPr lang="en-US" dirty="0"/>
              <a:t>It controls </a:t>
            </a:r>
            <a:r>
              <a:rPr lang="en-US" b="1" dirty="0"/>
              <a:t>colors, fonts, layouts, backgrounds, spacing</a:t>
            </a:r>
            <a:r>
              <a:rPr lang="en-US" dirty="0"/>
              <a:t>.</a:t>
            </a:r>
          </a:p>
          <a:p>
            <a:r>
              <a:rPr lang="en-US" dirty="0"/>
              <a:t>CSS = How it looks (style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847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3F96EA-7309-7CEA-3F26-E9B36212C0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34CBFE-D997-5F8C-9AA8-42EE8B5D3F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808606-E8B7-C11C-F8C2-4345933843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F3D4AC-4404-7AA3-DA9F-448E18BFF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CSS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C928F23A-DCCD-AAC4-3C63-638FC6FF44F9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00736E14-1CF2-EC1A-F13A-8FEFA971C93D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693453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hree ways of using style sheet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Box Model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Media Queries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Flex box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Grid </a:t>
            </a:r>
          </a:p>
          <a:p>
            <a:pPr>
              <a:buClr>
                <a:schemeClr val="bg1"/>
              </a:buClr>
            </a:pPr>
            <a:endParaRPr lang="en-US" sz="1600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sz="16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712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3D5875-6CDD-6089-8C58-EAF4D706C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231514-A0CD-DBEA-6DDD-5C86712C02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031E58-0E1E-D695-3CDA-1727ABA29D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0224C8-1CCF-26BD-2629-590CF8BF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Three ways of using CSS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56A8CA39-264B-350B-30A1-BBB9545123E5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3265416"/>
          </a:xfrm>
          <a:prstGeom prst="rect">
            <a:avLst/>
          </a:prstGeom>
        </p:spPr>
        <p:txBody>
          <a:bodyPr anchor="t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kern="1200" dirty="0">
                <a:solidFill>
                  <a:schemeClr val="bg1"/>
                </a:solidFill>
              </a:rPr>
              <a:t>Three ways of using CSS</a:t>
            </a:r>
          </a:p>
          <a:p>
            <a:pPr marL="0" indent="0" defTabSz="457200">
              <a:buClr>
                <a:schemeClr val="bg1"/>
              </a:buClr>
              <a:buNone/>
            </a:pPr>
            <a:r>
              <a:rPr lang="en-US" kern="1200" dirty="0">
                <a:solidFill>
                  <a:schemeClr val="bg1"/>
                </a:solidFill>
              </a:rPr>
              <a:t>   ✅ Inline CSS → Styling directly inside the element</a:t>
            </a:r>
          </a:p>
          <a:p>
            <a:pPr marL="0" indent="0" defTabSz="457200">
              <a:buClr>
                <a:schemeClr val="bg1"/>
              </a:buClr>
              <a:buNone/>
            </a:pPr>
            <a:r>
              <a:rPr lang="en-US" kern="1200" dirty="0">
                <a:solidFill>
                  <a:schemeClr val="bg1"/>
                </a:solidFill>
              </a:rPr>
              <a:t>   ✅ Internal CSS → Inside &lt;style&gt; tag in HTML</a:t>
            </a:r>
          </a:p>
          <a:p>
            <a:pPr marL="0" indent="0" defTabSz="457200">
              <a:buClr>
                <a:schemeClr val="bg1"/>
              </a:buClr>
              <a:buNone/>
            </a:pPr>
            <a:r>
              <a:rPr lang="en-US" kern="1200" dirty="0">
                <a:solidFill>
                  <a:schemeClr val="bg1"/>
                </a:solidFill>
              </a:rPr>
              <a:t>   ✅ External CSS → Separate .</a:t>
            </a:r>
            <a:r>
              <a:rPr lang="en-US" kern="1200" dirty="0" err="1">
                <a:solidFill>
                  <a:schemeClr val="bg1"/>
                </a:solidFill>
              </a:rPr>
              <a:t>css</a:t>
            </a:r>
            <a:r>
              <a:rPr lang="en-US" kern="1200" dirty="0">
                <a:solidFill>
                  <a:schemeClr val="bg1"/>
                </a:solidFill>
              </a:rPr>
              <a:t> file</a:t>
            </a:r>
          </a:p>
          <a:p>
            <a:pPr marL="0" indent="0" defTabSz="457200">
              <a:buClr>
                <a:schemeClr val="bg1"/>
              </a:buClr>
              <a:buNone/>
            </a:pPr>
            <a:endParaRPr lang="en-US" kern="1200" dirty="0">
              <a:solidFill>
                <a:schemeClr val="bg1"/>
              </a:solidFill>
            </a:endParaRPr>
          </a:p>
          <a:p>
            <a:pPr marL="0" indent="0" defTabSz="457200">
              <a:buClr>
                <a:schemeClr val="bg1"/>
              </a:buClr>
              <a:buNone/>
            </a:pPr>
            <a:endParaRPr lang="en-US" kern="1200" dirty="0">
              <a:solidFill>
                <a:schemeClr val="bg1"/>
              </a:solidFill>
            </a:endParaRPr>
          </a:p>
          <a:p>
            <a:pPr marL="0" defTabSz="457200">
              <a:buClr>
                <a:schemeClr val="bg1"/>
              </a:buClr>
            </a:pPr>
            <a:endParaRPr lang="en-US" kern="1200" dirty="0">
              <a:solidFill>
                <a:schemeClr val="bg1"/>
              </a:solidFill>
            </a:endParaRPr>
          </a:p>
        </p:txBody>
      </p:sp>
      <p:pic>
        <p:nvPicPr>
          <p:cNvPr id="7" name="Picture 6" descr="A screen shot of a computer code&#10;&#10;AI-generated content may be incorrect.">
            <a:extLst>
              <a:ext uri="{FF2B5EF4-FFF2-40B4-BE49-F238E27FC236}">
                <a16:creationId xmlns:a16="http://schemas.microsoft.com/office/drawing/2014/main" id="{26AA68F3-CF42-0CCE-5DF6-EB0AF0ECE9C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7547" b="4"/>
          <a:stretch>
            <a:fillRect/>
          </a:stretch>
        </p:blipFill>
        <p:spPr>
          <a:xfrm>
            <a:off x="4710630" y="1073928"/>
            <a:ext cx="3355181" cy="3265416"/>
          </a:xfrm>
          <a:prstGeom prst="rect">
            <a:avLst/>
          </a:prstGeom>
          <a:noFill/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C3C2B7DA-79A7-3ABD-FEA9-766F388BDCAF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4645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B6A25C-6836-D9D7-2DF4-3C69EBC90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A574A9-9A2D-99B4-3971-73ABA88AEC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A477D7-4DE1-625B-CA59-E1508BA0B5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F3E599-E0A7-3A3A-0E45-F56ABA46F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Box Model (content, padding, border, margin)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1AF4B33-1420-CA6C-ED6E-E3AEE53CB04A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279785"/>
          </a:xfrm>
          <a:prstGeom prst="rect">
            <a:avLst/>
          </a:prstGeom>
        </p:spPr>
        <p:txBody>
          <a:bodyPr anchor="t">
            <a:normAutofit lnSpcReduction="10000"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Every element in HTML is a box.</a:t>
            </a:r>
            <a:endParaRPr lang="en-US" kern="1200" dirty="0">
              <a:solidFill>
                <a:schemeClr val="bg1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CA65867-10FB-A8C5-943F-D00B955660B2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3205CE-0199-EC62-F5C6-387DF58D8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7937" y="1652003"/>
            <a:ext cx="3543643" cy="254159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306DF42-7FBC-00B6-EFC8-CA242B5C7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8" y="1652003"/>
            <a:ext cx="4271962" cy="2541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5294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D09FE-20CF-4CC4-6424-8893E6332C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B9BB5-02C3-1F14-6581-F1B02DC8F5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9380E2-9ECD-080B-3376-5A738B7C64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1AE2D1-518E-26F2-2FC0-47B9359B2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Media Queries (Responsive Design)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94BE161-E135-1EBA-B9E3-38BBDD5D68F1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307706"/>
          </a:xfrm>
          <a:prstGeom prst="rect">
            <a:avLst/>
          </a:prstGeom>
        </p:spPr>
        <p:txBody>
          <a:bodyPr anchor="t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📱 Change style based on device width.</a:t>
            </a:r>
            <a:endParaRPr lang="en-US" kern="1200" dirty="0">
              <a:solidFill>
                <a:schemeClr val="bg1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FA10BE0-CD1A-CDC0-60AF-08490B1422F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95BCCF-04A5-1BAD-761C-52AEF7E8BF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8" y="1652001"/>
            <a:ext cx="4760573" cy="27105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EB2997C-BEF2-91B3-3F3F-6DC28E383F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3476" y="1652002"/>
            <a:ext cx="2929123" cy="2710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9728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EA141C-F6F7-C819-B8A0-80BBFE4ADF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F38ED59-5FE7-2D2E-CB0A-83C0852B55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5D8AF5-0013-C105-7A14-FE8F00106A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0C8D81-DAE7-7B66-C2DF-80F90D193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Flexbox (Flexible Box Layout)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F8D1BD3-02DD-8C9B-47C4-8D74D77C8E7A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307706"/>
          </a:xfrm>
          <a:prstGeom prst="rect">
            <a:avLst/>
          </a:prstGeom>
        </p:spPr>
        <p:txBody>
          <a:bodyPr anchor="t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🔄 Arrange items easily in row/column.</a:t>
            </a:r>
            <a:endParaRPr lang="en-US" kern="1200" dirty="0">
              <a:solidFill>
                <a:schemeClr val="bg1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7867D51A-5819-D0A6-514E-62125BB27E2B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5F57DE-18CF-3802-10A6-7E1C9FA91D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8" y="1954146"/>
            <a:ext cx="4872070" cy="141933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657DF0-880D-69AB-D6AA-575D3D745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0033" y="1658880"/>
            <a:ext cx="3645087" cy="231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420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757AFB-9884-F388-40DA-91610407F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3C7F5A-2571-68BF-F300-C3696F84B5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4729C3-5243-995D-5894-6F54500DB1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2B3393-87BB-ECE2-FF78-293AED2FE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Grid Layout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A0537638-EF5C-CC75-8721-805B239A543D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307706"/>
          </a:xfrm>
          <a:prstGeom prst="rect">
            <a:avLst/>
          </a:prstGeom>
        </p:spPr>
        <p:txBody>
          <a:bodyPr anchor="t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🟦 Divide page into rows &amp; columns.</a:t>
            </a:r>
            <a:endParaRPr lang="en-US" kern="1200" dirty="0">
              <a:solidFill>
                <a:schemeClr val="bg1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94371A7-A33B-15F9-ADAA-E0FF5BA3DE8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B61039-5246-2651-C314-60E60DED9A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5367" y="1702364"/>
            <a:ext cx="3755505" cy="202575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BCA5A5D-E782-5F13-09A1-87C5A8065F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8" y="1702364"/>
            <a:ext cx="4048597" cy="2025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907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C2D319-588B-333B-ED1F-74E16D1211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8D7AB66-9E8D-90C4-84ED-6358D1D4E7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8D7AB66-9E8D-90C4-84ED-6358D1D4E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BC3F1823-AA3A-3C8E-7A04-83D0130C0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955" y="2396149"/>
            <a:ext cx="7706089" cy="352790"/>
          </a:xfrm>
        </p:spPr>
        <p:txBody>
          <a:bodyPr/>
          <a:lstStyle/>
          <a:p>
            <a:r>
              <a:rPr lang="en-US" sz="2000" b="1" cap="none" dirty="0"/>
              <a:t>For more, please refer</a:t>
            </a:r>
            <a:r>
              <a:rPr lang="en-US" sz="2000" b="1" dirty="0"/>
              <a:t>: </a:t>
            </a:r>
            <a:r>
              <a:rPr lang="en-US" sz="2000" cap="none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3schools.com/css/default.asp</a:t>
            </a:r>
            <a:r>
              <a:rPr lang="en-US" sz="2000" cap="none" dirty="0"/>
              <a:t> </a:t>
            </a:r>
            <a:endParaRPr lang="en-US" sz="20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FA2E9A-4C3B-0446-282A-549D24FBA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F01483A-8CCD-C87B-ABBA-AA7EB81F75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1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82366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D020E6-4B51-002D-94D6-796FCAE57C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D44B21A-FFBC-847D-A432-18409328A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D44B21A-FFBC-847D-A432-18409328A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EAA3D0CD-535E-5264-6D68-BAE46AB02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F92B60-CE3F-A351-3E5E-24D5AE40CE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0931EB3-50B2-19F1-137B-D0C1476701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B6C697-FDFC-1F41-6DBF-152C952B6A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202093"/>
            <a:ext cx="7091362" cy="188321"/>
          </a:xfrm>
        </p:spPr>
        <p:txBody>
          <a:bodyPr/>
          <a:lstStyle/>
          <a:p>
            <a:r>
              <a:rPr lang="en-US" dirty="0"/>
              <a:t>JavaScript – Intera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3C22927-4502-A519-B613-E1AAB035F2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723190"/>
            <a:ext cx="7091362" cy="2539005"/>
          </a:xfrm>
        </p:spPr>
        <p:txBody>
          <a:bodyPr/>
          <a:lstStyle/>
          <a:p>
            <a:r>
              <a:rPr lang="en-US" dirty="0"/>
              <a:t>JavaScript makes web pages </a:t>
            </a:r>
            <a:r>
              <a:rPr lang="en-US" b="1" dirty="0"/>
              <a:t>dynamic and interactive</a:t>
            </a:r>
            <a:r>
              <a:rPr lang="en-US" dirty="0"/>
              <a:t>. </a:t>
            </a:r>
          </a:p>
          <a:p>
            <a:r>
              <a:rPr lang="en-US" dirty="0"/>
              <a:t>It can respond to </a:t>
            </a:r>
            <a:r>
              <a:rPr lang="en-US" b="1" dirty="0"/>
              <a:t>clicks, inputs, animations, validations</a:t>
            </a:r>
            <a:r>
              <a:rPr lang="en-US" dirty="0"/>
              <a:t>.</a:t>
            </a:r>
          </a:p>
          <a:p>
            <a:r>
              <a:rPr lang="en-US" dirty="0"/>
              <a:t>JavaScript = How it behaves (interactivity)</a:t>
            </a:r>
          </a:p>
          <a:p>
            <a:r>
              <a:rPr lang="en-US" dirty="0">
                <a:solidFill>
                  <a:schemeClr val="accent1"/>
                </a:solidFill>
              </a:rPr>
              <a:t>Example: </a:t>
            </a:r>
            <a:r>
              <a:rPr lang="en-US" dirty="0">
                <a:hlinkClick r:id="rId6"/>
              </a:rPr>
              <a:t>Playground | MDN</a:t>
            </a: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 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19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1E1B8F-7BCF-B902-011E-844392B2D1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FA198D8-80A0-7EA8-920B-B131C68C2B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AC0E71-F84E-ABF5-2FCA-B3523579C0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275209-6FFB-0810-40BE-818CAADDB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JavaScript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6A54D255-1E6E-300B-BF21-624D6B807B73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B6A2A58-3128-8E58-9400-3ED174707EE3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302650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Variables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Date Types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Loops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Switch statement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Logical Operators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Functions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Arrow functions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Objects</a:t>
            </a:r>
          </a:p>
          <a:p>
            <a:pPr marL="0" indent="0">
              <a:buClr>
                <a:schemeClr val="bg1"/>
              </a:buClr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D4A97E0F-8FD1-5D93-61AD-0B9296AAAC05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Arrays</a:t>
            </a:r>
          </a:p>
          <a:p>
            <a:pPr>
              <a:buClr>
                <a:schemeClr val="bg1"/>
              </a:buClr>
            </a:pPr>
            <a:r>
              <a:rPr lang="en-US" sz="1400" dirty="0" err="1">
                <a:solidFill>
                  <a:schemeClr val="bg1"/>
                </a:solidFill>
              </a:rPr>
              <a:t>Destructur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Mouse events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Fetch</a:t>
            </a:r>
          </a:p>
          <a:p>
            <a:pPr>
              <a:buClr>
                <a:schemeClr val="bg1"/>
              </a:buClr>
            </a:pPr>
            <a:r>
              <a:rPr lang="en-US" sz="1400" dirty="0" err="1">
                <a:solidFill>
                  <a:schemeClr val="bg1"/>
                </a:solidFill>
              </a:rPr>
              <a:t>Localstorage</a:t>
            </a:r>
            <a:r>
              <a:rPr lang="en-US" sz="1400" dirty="0">
                <a:solidFill>
                  <a:schemeClr val="bg1"/>
                </a:solidFill>
              </a:rPr>
              <a:t> &amp; </a:t>
            </a:r>
            <a:r>
              <a:rPr lang="en-US" sz="1400" dirty="0" err="1">
                <a:solidFill>
                  <a:schemeClr val="bg1"/>
                </a:solidFill>
              </a:rPr>
              <a:t>Sessionstorag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 Async/await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emplate Literals</a:t>
            </a:r>
          </a:p>
          <a:p>
            <a:pPr marL="0" indent="0">
              <a:buClr>
                <a:schemeClr val="bg1"/>
              </a:buClr>
              <a:buNone/>
            </a:pP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419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48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310CE0A-9AAD-4E7F-A2A7-EF175D65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rontend developmen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C3F69D-D76D-4CFB-AD5F-C2A6D428E3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C0427A-C23D-481C-8E1B-1076EC28FD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B1E615-E944-47CD-AC27-55B477280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242392"/>
            <a:ext cx="7091362" cy="2368672"/>
          </a:xfrm>
        </p:spPr>
        <p:txBody>
          <a:bodyPr/>
          <a:lstStyle/>
          <a:p>
            <a:r>
              <a:rPr lang="en-US" dirty="0"/>
              <a:t>Frontend development is the </a:t>
            </a:r>
            <a:r>
              <a:rPr lang="en-US" b="1" dirty="0"/>
              <a:t>visible part of a website</a:t>
            </a:r>
            <a:r>
              <a:rPr lang="en-US" dirty="0"/>
              <a:t> that users see and interact with.</a:t>
            </a:r>
          </a:p>
          <a:p>
            <a:r>
              <a:rPr lang="en-US" dirty="0"/>
              <a:t>It includes </a:t>
            </a:r>
            <a:r>
              <a:rPr lang="en-US" b="1" dirty="0"/>
              <a:t>buttons, text, images, colors, and layout</a:t>
            </a:r>
            <a:r>
              <a:rPr lang="en-US" dirty="0"/>
              <a:t>.</a:t>
            </a:r>
          </a:p>
          <a:p>
            <a:r>
              <a:rPr lang="en-US" dirty="0"/>
              <a:t>Example: When you open YouTube, the videos, buttons, search bar → all are frontend.</a:t>
            </a:r>
            <a:br>
              <a:rPr lang="en-US" dirty="0"/>
            </a:br>
            <a:endParaRPr lang="en-US" dirty="0"/>
          </a:p>
        </p:txBody>
      </p:sp>
      <p:pic>
        <p:nvPicPr>
          <p:cNvPr id="1029" name="Picture 5" descr="Front End Development in Web Development">
            <a:extLst>
              <a:ext uri="{FF2B5EF4-FFF2-40B4-BE49-F238E27FC236}">
                <a16:creationId xmlns:a16="http://schemas.microsoft.com/office/drawing/2014/main" id="{37ACF022-2339-3846-F0AC-06C6069BE9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93" y="2734764"/>
            <a:ext cx="260985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>
            <a:extLst>
              <a:ext uri="{FF2B5EF4-FFF2-40B4-BE49-F238E27FC236}">
                <a16:creationId xmlns:a16="http://schemas.microsoft.com/office/drawing/2014/main" id="{7DAEF337-3973-BB7A-4CFA-4721FF02C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313" y="2646852"/>
            <a:ext cx="3488825" cy="196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56798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B70B14-2B9E-0DFE-282C-79D848D39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12646A-8F6C-FB1B-7D45-66AF7D0780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DC11F21-B2E5-D3F7-A44D-2A05C47EE8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3F685C-044A-014E-F218-69ED70EAC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JavaScript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90FA7E92-D230-2939-052F-CE8CB256E26F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F9BD304-D463-E596-7464-F48D1041CFF4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13095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Variables</a:t>
            </a:r>
            <a:r>
              <a:rPr lang="en-US" dirty="0">
                <a:solidFill>
                  <a:schemeClr val="bg1"/>
                </a:solidFill>
              </a:rPr>
              <a:t>: Used to store data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Data Types</a:t>
            </a:r>
            <a:r>
              <a:rPr lang="en-US" dirty="0">
                <a:solidFill>
                  <a:schemeClr val="bg1"/>
                </a:solidFill>
              </a:rPr>
              <a:t>: string, number, </a:t>
            </a:r>
            <a:r>
              <a:rPr lang="en-US" dirty="0" err="1">
                <a:solidFill>
                  <a:schemeClr val="bg1"/>
                </a:solidFill>
              </a:rPr>
              <a:t>boolean</a:t>
            </a:r>
            <a:r>
              <a:rPr lang="en-US" dirty="0">
                <a:solidFill>
                  <a:schemeClr val="bg1"/>
                </a:solidFill>
              </a:rPr>
              <a:t>, object, array, null, undefined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41B62C56-9CEC-FB5E-6949-19553E1399AD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70F09E-C054-3F10-C792-A89E8890E2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343" y="1658659"/>
            <a:ext cx="1835244" cy="6096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0961284-4196-04C4-214B-B23C7C1BD3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343" y="3534830"/>
            <a:ext cx="2514729" cy="673135"/>
          </a:xfrm>
          <a:prstGeom prst="rect">
            <a:avLst/>
          </a:prstGeom>
        </p:spPr>
      </p:pic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939685-1255-3884-BEE5-4D538F1A6C21}"/>
              </a:ext>
            </a:extLst>
          </p:cNvPr>
          <p:cNvSpPr txBox="1">
            <a:spLocks/>
          </p:cNvSpPr>
          <p:nvPr/>
        </p:nvSpPr>
        <p:spPr>
          <a:xfrm>
            <a:off x="4470026" y="1201365"/>
            <a:ext cx="4300261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Loops: </a:t>
            </a:r>
            <a:r>
              <a:rPr lang="en-US" dirty="0">
                <a:solidFill>
                  <a:schemeClr val="bg1"/>
                </a:solidFill>
              </a:rPr>
              <a:t>Run code repeatedly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If…else: </a:t>
            </a:r>
            <a:r>
              <a:rPr lang="en-US" dirty="0">
                <a:solidFill>
                  <a:schemeClr val="bg1"/>
                </a:solidFill>
              </a:rPr>
              <a:t>used to make decisions in code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1EE692B-CC04-47A0-231E-2029207902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7246" y="1658659"/>
            <a:ext cx="1745038" cy="79835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C104DB5-322D-839C-24E8-10C67FCBB7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6442" y="1658659"/>
            <a:ext cx="1745038" cy="79835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20B4799-C5F5-0562-FF43-DC132FEA00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98733" y="3154332"/>
            <a:ext cx="4131576" cy="107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2020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9B73AA-F069-FB32-D924-42E110A27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3A2DC66-2F88-A365-4F00-7981EC0C70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6D661E-96C0-A8B1-5E91-16FFAC5846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051B03-08B8-3912-4371-12F312084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JavaScript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32BE599-6EAD-F5E4-2974-5B591BEB8960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E49C9AB-FC67-A35A-A420-D2B7549D5DB7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13095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Logical Operators: </a:t>
            </a:r>
            <a:r>
              <a:rPr lang="en-US" dirty="0">
                <a:solidFill>
                  <a:schemeClr val="bg1"/>
                </a:solidFill>
              </a:rPr>
              <a:t>&amp;&amp; (AND), || (OR), ! (NOT)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Functions:</a:t>
            </a:r>
            <a:r>
              <a:rPr lang="en-US" dirty="0">
                <a:solidFill>
                  <a:schemeClr val="bg1"/>
                </a:solidFill>
              </a:rPr>
              <a:t> Block of code that performs a task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9DD1429-FD82-AB3F-EEE2-2CB834D24AF7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CD6A9CDD-613E-A3EA-E8AA-BC0A97387787}"/>
              </a:ext>
            </a:extLst>
          </p:cNvPr>
          <p:cNvSpPr txBox="1">
            <a:spLocks/>
          </p:cNvSpPr>
          <p:nvPr/>
        </p:nvSpPr>
        <p:spPr>
          <a:xfrm>
            <a:off x="4470026" y="1201365"/>
            <a:ext cx="4300261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Objects : </a:t>
            </a:r>
            <a:r>
              <a:rPr lang="en-US" dirty="0">
                <a:solidFill>
                  <a:schemeClr val="bg1"/>
                </a:solidFill>
              </a:rPr>
              <a:t>Store data in key-value pairs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Arrow functions: </a:t>
            </a:r>
            <a:r>
              <a:rPr lang="en-US" dirty="0">
                <a:solidFill>
                  <a:schemeClr val="bg1"/>
                </a:solidFill>
              </a:rPr>
              <a:t>Shorter way to write functions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5F538D5-FD4D-B10C-C303-650C5EB53B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868" y="1572036"/>
            <a:ext cx="2521080" cy="971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89A2FAE-2516-1BBA-F67A-0FB477D608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868" y="3464856"/>
            <a:ext cx="2152761" cy="95254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66E344E-0636-0953-3DA1-2627238933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6404" y="3597409"/>
            <a:ext cx="3092609" cy="50167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56C7556-C6B5-62DF-5261-42C94F2883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6404" y="1572036"/>
            <a:ext cx="2838596" cy="119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325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1A9493-DDF6-8636-21FD-4F7AFC1736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965AFA-0D09-CA49-0512-73F99A4A0C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68FD0A-1531-419F-3807-3FF41F578E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1498B0D-BC51-D2E6-0156-0167D0C23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JavaScript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F0A7F6-DB1B-3FE5-51E8-6F6A78BDF97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1A4CA75-4BFE-6FDC-0FE7-9F8B4F2BB39B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13095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Arrays : </a:t>
            </a:r>
            <a:r>
              <a:rPr lang="en-US" dirty="0">
                <a:solidFill>
                  <a:schemeClr val="bg1"/>
                </a:solidFill>
              </a:rPr>
              <a:t>A collection of values stored in a single variable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 err="1">
                <a:solidFill>
                  <a:schemeClr val="bg1"/>
                </a:solidFill>
              </a:rPr>
              <a:t>Destructuring</a:t>
            </a:r>
            <a:r>
              <a:rPr lang="en-US" b="1" dirty="0">
                <a:solidFill>
                  <a:schemeClr val="bg1"/>
                </a:solidFill>
              </a:rPr>
              <a:t> :</a:t>
            </a:r>
            <a:r>
              <a:rPr lang="en-US" dirty="0">
                <a:solidFill>
                  <a:schemeClr val="bg1"/>
                </a:solidFill>
              </a:rPr>
              <a:t> Extract values from arrays or objects easily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10CC2F49-3453-40E5-E144-5F9B361A0C60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0CF5F1A-591B-E4BE-11E6-D53DB0ED1199}"/>
              </a:ext>
            </a:extLst>
          </p:cNvPr>
          <p:cNvSpPr txBox="1">
            <a:spLocks/>
          </p:cNvSpPr>
          <p:nvPr/>
        </p:nvSpPr>
        <p:spPr>
          <a:xfrm>
            <a:off x="4470026" y="1201365"/>
            <a:ext cx="4300261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Mouse Events : </a:t>
            </a:r>
            <a:r>
              <a:rPr lang="en-US" dirty="0">
                <a:solidFill>
                  <a:schemeClr val="bg1"/>
                </a:solidFill>
              </a:rPr>
              <a:t>Events that happen when the user interacts with the mouse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Template literals: </a:t>
            </a:r>
            <a:r>
              <a:rPr lang="en-US" dirty="0">
                <a:solidFill>
                  <a:schemeClr val="bg1"/>
                </a:solidFill>
              </a:rPr>
              <a:t>Let you build strings using backticks (`) instead of quotes.</a:t>
            </a:r>
          </a:p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You can embed variables or expressions inside a string using ${ }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623567-1CC0-64A5-34EA-BD3C2F378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868" y="1736179"/>
            <a:ext cx="3321221" cy="5969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F5FA63D-C33F-450F-4B10-BE2255B393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868" y="3597409"/>
            <a:ext cx="1598198" cy="80649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6BBA780-A640-31AF-0A02-6E48B97F92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9820" y="1898112"/>
            <a:ext cx="4191215" cy="27306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D02E010-8535-A790-0900-50F255D61D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9820" y="2326769"/>
            <a:ext cx="4187121" cy="245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93BCE12-071C-9ACF-A7DF-BE6125FEC5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4730" y="4017171"/>
            <a:ext cx="3930852" cy="52072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CC6D02A-C259-AB9A-5CBA-5B02D22CA6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2449" y="3597410"/>
            <a:ext cx="2010543" cy="806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0088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70E0DA-0728-97A3-B045-45248B387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D76212-055B-2A8B-F59F-08EA3EDBA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5F50D6-3829-AC5D-0030-684869332E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CEF13E-AFF4-0749-FD63-600F3D73A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JavaScript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5F2198DA-BF0C-2851-CBCC-B48B12BFDE8C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C65D5B3F-40E7-E39F-0511-EAB5BDF6A5D5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13095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 err="1">
                <a:solidFill>
                  <a:schemeClr val="bg1"/>
                </a:solidFill>
              </a:rPr>
              <a:t>LocalStorage</a:t>
            </a:r>
            <a:r>
              <a:rPr lang="en-US" b="1" dirty="0">
                <a:solidFill>
                  <a:schemeClr val="bg1"/>
                </a:solidFill>
              </a:rPr>
              <a:t> &amp; </a:t>
            </a:r>
            <a:r>
              <a:rPr lang="en-US" b="1" dirty="0" err="1">
                <a:solidFill>
                  <a:schemeClr val="bg1"/>
                </a:solidFill>
              </a:rPr>
              <a:t>SessionStorage</a:t>
            </a:r>
            <a:r>
              <a:rPr lang="en-US" b="1" dirty="0">
                <a:solidFill>
                  <a:schemeClr val="bg1"/>
                </a:solidFill>
              </a:rPr>
              <a:t> : </a:t>
            </a:r>
            <a:r>
              <a:rPr lang="en-US" dirty="0">
                <a:solidFill>
                  <a:schemeClr val="bg1"/>
                </a:solidFill>
              </a:rPr>
              <a:t>Store data in the browser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75735F7B-22FD-9962-7F06-055E4D919ED3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52E52B72-4758-CC8D-D18A-AEC0CE0288B0}"/>
              </a:ext>
            </a:extLst>
          </p:cNvPr>
          <p:cNvSpPr txBox="1">
            <a:spLocks/>
          </p:cNvSpPr>
          <p:nvPr/>
        </p:nvSpPr>
        <p:spPr>
          <a:xfrm>
            <a:off x="4225090" y="1201365"/>
            <a:ext cx="4300261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Async/Await : </a:t>
            </a:r>
            <a:r>
              <a:rPr lang="en-US" dirty="0">
                <a:solidFill>
                  <a:schemeClr val="bg1"/>
                </a:solidFill>
              </a:rPr>
              <a:t>A cleaner way to write asynchronous code.</a:t>
            </a:r>
          </a:p>
          <a:p>
            <a:pPr marL="0" indent="0">
              <a:buClr>
                <a:schemeClr val="bg1"/>
              </a:buClr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EB8C8D-735C-519D-F0FF-BD897F1B23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966" y="1985760"/>
            <a:ext cx="3342255" cy="146941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AA6E322-39A5-98AB-7A50-25BCAFDEF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9476" y="1677658"/>
            <a:ext cx="3949944" cy="96533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F5027E2-5B79-6067-EC73-610DD58E2D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4935" y="2876691"/>
            <a:ext cx="3949944" cy="1339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768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208D4F-856C-C12B-7B75-81FFF3266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368AB17-0900-6AC9-C35F-22BC25E742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E957B8-3823-302B-8E08-54C6EC2382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63C76F0-45C0-E8B1-02A3-971A9370B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JavaScript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274F7A1-0AFA-C341-DAF1-5007EB72EBDB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04435A4F-9459-50F0-4E4C-5DAD482FD409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13095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Fetch (API calls) : </a:t>
            </a:r>
            <a:r>
              <a:rPr lang="en-US" dirty="0">
                <a:solidFill>
                  <a:schemeClr val="bg1"/>
                </a:solidFill>
              </a:rPr>
              <a:t>Built-in function used to make HTTP requests (GET, POST, PUT, DELETE, etc.) from the browser to a server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BD15FBDA-B3B7-C5EF-8B23-87CA06201F23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B36B3C-5BE2-B1F9-CC03-B126B04BC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343" y="1957752"/>
            <a:ext cx="2330570" cy="221626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2431D67-176F-DD28-3340-1AE3363E91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390889"/>
            <a:ext cx="3977717" cy="15946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58A5707-9742-76E3-3FBE-96090AAC6C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1999" y="1985504"/>
            <a:ext cx="3977717" cy="257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5768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464884-02F0-0382-DE86-9A421E1E3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47C0741-614D-6EA7-1407-1BA3E60B42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47C0741-614D-6EA7-1407-1BA3E60B4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592BA40-A5DC-81D8-17F4-66F42D223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707" y="2392038"/>
            <a:ext cx="5287494" cy="361012"/>
          </a:xfrm>
        </p:spPr>
        <p:txBody>
          <a:bodyPr/>
          <a:lstStyle/>
          <a:p>
            <a:r>
              <a:rPr lang="en-US" sz="2000" b="1" cap="none" dirty="0"/>
              <a:t>For more, please refer</a:t>
            </a:r>
            <a:r>
              <a:rPr lang="en-US" sz="2000" b="1" dirty="0"/>
              <a:t>: </a:t>
            </a:r>
            <a:r>
              <a:rPr lang="en-US" sz="2000" cap="none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javascript.info/</a:t>
            </a:r>
            <a:r>
              <a:rPr lang="en-US" sz="2000" cap="none" dirty="0"/>
              <a:t> </a:t>
            </a:r>
            <a:endParaRPr lang="en-US" sz="20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8A13A3-20C7-25EB-DA4F-AA4C4938BA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070609D-AF55-35D8-1ADB-D5B78052F8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2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96766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3687D-0487-8D7C-586C-ED77C575DD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B707F3-6196-EB39-B9ED-1D3524A0D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Tool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3A7C92-91F2-5AE5-B96D-8AE32B7AFB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19E085-D95F-F00F-143D-B1506BF99E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AAD3E2C-A803-6A46-085E-BE34B5687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660" y="1113393"/>
            <a:ext cx="7091362" cy="1712911"/>
          </a:xfrm>
        </p:spPr>
        <p:txBody>
          <a:bodyPr/>
          <a:lstStyle/>
          <a:p>
            <a:r>
              <a:rPr lang="en-US" dirty="0"/>
              <a:t>Built inside Chrome (Right click → Inspect).</a:t>
            </a:r>
          </a:p>
          <a:p>
            <a:r>
              <a:rPr lang="en-US" dirty="0"/>
              <a:t>Used by developers to: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Inspect elements</a:t>
            </a:r>
            <a:r>
              <a:rPr lang="en-US" dirty="0"/>
              <a:t> (see the HTML &amp; CSS behind a page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Debug JavaScript</a:t>
            </a:r>
            <a:r>
              <a:rPr lang="en-US" dirty="0"/>
              <a:t> (find and fix errors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Check responsiveness</a:t>
            </a:r>
            <a:r>
              <a:rPr lang="en-US" dirty="0"/>
              <a:t> (how a website looks on mobile/desktop)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8C459260-035B-99C1-88F0-CE844B7C1C8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672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351E49-86FA-B6D7-6223-5539F947D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C2060A-D8F3-DEEF-1CEF-E5AFD55A8C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AD7A2D-F2CF-15DD-2D79-254CD41AC3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7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62E56D-F9B5-BC04-C764-2814FAB38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5124" name="Picture 4" descr="The Inspect option in a drop-down menu in Chrome.">
            <a:extLst>
              <a:ext uri="{FF2B5EF4-FFF2-40B4-BE49-F238E27FC236}">
                <a16:creationId xmlns:a16="http://schemas.microsoft.com/office/drawing/2014/main" id="{11BEAD29-AB20-6767-8719-8300FF2AA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499" y="747846"/>
            <a:ext cx="6735848" cy="425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4D8E35A-1236-FD4F-D369-3A23C73AFCC0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0124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09220-3C97-4B12-B491-374443DC33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228013-0A37-948E-7AE2-A2F6B90D8C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42A8FF-A1E8-9891-E9CB-4EB5737043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8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FC4C995-2DFB-9BCC-4077-9283C3361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5" name="Picture 8" descr="The Debugger to the right of the wide window.">
            <a:extLst>
              <a:ext uri="{FF2B5EF4-FFF2-40B4-BE49-F238E27FC236}">
                <a16:creationId xmlns:a16="http://schemas.microsoft.com/office/drawing/2014/main" id="{C4C14E67-24B5-B477-A0DF-8B9C701C4C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1631" y="918765"/>
            <a:ext cx="6912151" cy="3697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FBF77E-5846-F176-4BA6-B65CB1491C54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5480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7E4B2-E59A-76A7-4B81-AEDA10713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EB577-A7B4-CDB4-6BE3-6C1E825074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7AE0B1-756D-099E-9E75-DECB376869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9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E2919-8009-7F1B-7FF4-87A6DF906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8" name="Picture 6" descr="The width presets bar.">
            <a:extLst>
              <a:ext uri="{FF2B5EF4-FFF2-40B4-BE49-F238E27FC236}">
                <a16:creationId xmlns:a16="http://schemas.microsoft.com/office/drawing/2014/main" id="{28E8C03E-7778-48C5-C74B-7F11761FBE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86625" y="918765"/>
            <a:ext cx="5270015" cy="377051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7A0207C6-8055-4C02-3546-F425009E4E0C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1093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B4451-15E5-04FB-1A1E-5A8690F58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367352-5BC4-A02B-ACCA-4D7CF29254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367352-5BC4-A02B-ACCA-4D7CF2925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24EFFEAC-43FB-2C0B-F818-92F0BB61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eb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6D13F7-B0DD-0A3F-9A83-A40E1662CF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03B3D7-FC05-091F-ED9F-886360709F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94AAAD1-85D6-7983-840F-59E00D4747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810" y="1018685"/>
            <a:ext cx="2098191" cy="249160"/>
          </a:xfrm>
        </p:spPr>
        <p:txBody>
          <a:bodyPr/>
          <a:lstStyle/>
          <a:p>
            <a:r>
              <a:rPr lang="en-US" dirty="0"/>
              <a:t>Browser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57C7668-AA72-FDED-2FE3-6AFB8C54CB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429670"/>
            <a:ext cx="7091362" cy="580301"/>
          </a:xfrm>
        </p:spPr>
        <p:txBody>
          <a:bodyPr/>
          <a:lstStyle/>
          <a:p>
            <a:r>
              <a:rPr lang="en-US" dirty="0"/>
              <a:t>A browser is the </a:t>
            </a:r>
            <a:r>
              <a:rPr lang="en-US" b="1" dirty="0"/>
              <a:t>tool you use to visit websites</a:t>
            </a:r>
            <a:r>
              <a:rPr lang="en-US" dirty="0"/>
              <a:t>. When you type www.google.com in the address bar, the browser sends a request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A50D75F6-A1F9-C5D2-EB66-32E633374B68}"/>
              </a:ext>
            </a:extLst>
          </p:cNvPr>
          <p:cNvSpPr txBox="1">
            <a:spLocks/>
          </p:cNvSpPr>
          <p:nvPr/>
        </p:nvSpPr>
        <p:spPr bwMode="gray">
          <a:xfrm>
            <a:off x="341810" y="2009971"/>
            <a:ext cx="7091362" cy="188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1200" b="1" kern="120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erver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B5D6CACE-FEA3-F33D-6AA1-E99F1BCC5EF1}"/>
              </a:ext>
            </a:extLst>
          </p:cNvPr>
          <p:cNvSpPr txBox="1">
            <a:spLocks/>
          </p:cNvSpPr>
          <p:nvPr/>
        </p:nvSpPr>
        <p:spPr bwMode="gray">
          <a:xfrm>
            <a:off x="300038" y="2337718"/>
            <a:ext cx="7091362" cy="615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</a:t>
            </a:r>
            <a:r>
              <a:rPr lang="en-US" b="1" dirty="0"/>
              <a:t>server is a powerful computer</a:t>
            </a:r>
            <a:r>
              <a:rPr lang="en-US" dirty="0"/>
              <a:t> that stores websites. When your browser asks for a page, the server sends back the </a:t>
            </a:r>
            <a:r>
              <a:rPr lang="en-US" b="1" dirty="0"/>
              <a:t>HTML, CSS, and JavaScript files</a:t>
            </a:r>
            <a:endParaRPr lang="en-US" dirty="0"/>
          </a:p>
        </p:txBody>
      </p:sp>
      <p:pic>
        <p:nvPicPr>
          <p:cNvPr id="3080" name="Picture 8" descr="Google Chrome PNG Images - CleanPNG">
            <a:extLst>
              <a:ext uri="{FF2B5EF4-FFF2-40B4-BE49-F238E27FC236}">
                <a16:creationId xmlns:a16="http://schemas.microsoft.com/office/drawing/2014/main" id="{34019E49-C474-8F33-21E5-85DE572905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668" y="1014501"/>
            <a:ext cx="250193" cy="262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Firefox Logo transparent PNG - StickPNG">
            <a:extLst>
              <a:ext uri="{FF2B5EF4-FFF2-40B4-BE49-F238E27FC236}">
                <a16:creationId xmlns:a16="http://schemas.microsoft.com/office/drawing/2014/main" id="{A7CA63AD-1EE1-4376-678B-98470C54D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905" y="993795"/>
            <a:ext cx="270044" cy="28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>
            <a:extLst>
              <a:ext uri="{FF2B5EF4-FFF2-40B4-BE49-F238E27FC236}">
                <a16:creationId xmlns:a16="http://schemas.microsoft.com/office/drawing/2014/main" id="{7C0F1331-D379-4DB9-63D0-BD7F7B5D9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993" y="1003319"/>
            <a:ext cx="270045" cy="27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Generated image">
            <a:extLst>
              <a:ext uri="{FF2B5EF4-FFF2-40B4-BE49-F238E27FC236}">
                <a16:creationId xmlns:a16="http://schemas.microsoft.com/office/drawing/2014/main" id="{3CF74EAC-7769-1942-2489-4E4064CE5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861" y="2953271"/>
            <a:ext cx="4068857" cy="169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58935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04BFDD-216A-AF55-8835-8A72B0C1C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6D37B4-AF0E-46F6-FCE2-48C37E0C6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VS Cod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7162FED-278D-D633-F102-0CF26F04F4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F4F6AF-57E1-9C28-8A45-D9AFEE778C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B4D34F3-526F-CE6C-6351-F4D230C09F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889477"/>
            <a:ext cx="7091362" cy="2498429"/>
          </a:xfrm>
        </p:spPr>
        <p:txBody>
          <a:bodyPr/>
          <a:lstStyle/>
          <a:p>
            <a:r>
              <a:rPr lang="en-US" b="1" dirty="0"/>
              <a:t>Visual Studio Code (VS Code)</a:t>
            </a:r>
            <a:r>
              <a:rPr lang="en-US" dirty="0"/>
              <a:t> = a free code editor for writing programs.</a:t>
            </a:r>
          </a:p>
          <a:p>
            <a:r>
              <a:rPr lang="en-US" dirty="0"/>
              <a:t>Supports </a:t>
            </a:r>
            <a:r>
              <a:rPr lang="en-US" b="1" dirty="0"/>
              <a:t>HTML, CSS, JavaScript</a:t>
            </a:r>
            <a:r>
              <a:rPr lang="en-US" dirty="0"/>
              <a:t>, and many more languages.</a:t>
            </a:r>
          </a:p>
          <a:p>
            <a:r>
              <a:rPr lang="en-US" dirty="0"/>
              <a:t>Features: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Extensions</a:t>
            </a:r>
            <a:r>
              <a:rPr lang="en-US" dirty="0"/>
              <a:t> (to make coding easier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Themes</a:t>
            </a:r>
            <a:r>
              <a:rPr lang="en-US" dirty="0"/>
              <a:t> (customize look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Built-in terminal</a:t>
            </a:r>
            <a:r>
              <a:rPr lang="en-US" dirty="0"/>
              <a:t> (run commands).</a:t>
            </a:r>
          </a:p>
        </p:txBody>
      </p:sp>
    </p:spTree>
    <p:extLst>
      <p:ext uri="{BB962C8B-B14F-4D97-AF65-F5344CB8AC3E}">
        <p14:creationId xmlns:p14="http://schemas.microsoft.com/office/powerpoint/2010/main" val="36494892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FE8CF-00AB-7098-0780-4DD092B40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4FBF6E3-0EA4-553F-7B52-56AC215FB1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64A9BC-0E30-4764-9E37-13BE9046AF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1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0AD5F32-B918-473A-D1D2-584FBE2FC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D784FB-97BB-0C31-F6B3-780689449B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649" y="1039475"/>
            <a:ext cx="6263782" cy="3450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8133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6662C-14C5-73E9-451A-DA3764BA3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EF89EC-581A-E73A-4380-43FE781FBE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BE4A1BC-92D4-957C-1418-9A5CDA8489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2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9E66D-DA89-5DB6-CC65-EF083A505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10242" name="Picture 2" descr="Open the terminal">
            <a:extLst>
              <a:ext uri="{FF2B5EF4-FFF2-40B4-BE49-F238E27FC236}">
                <a16:creationId xmlns:a16="http://schemas.microsoft.com/office/drawing/2014/main" id="{5532B730-7423-4FF8-117C-7FAFEFC046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5826" y="1116245"/>
            <a:ext cx="6215466" cy="3265416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1451071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04E70B-9413-4127-8465-86698BC7D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04E70B-9413-4127-8465-86698BC7D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604A3E3-F23E-469B-92FF-6707E2B0F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E71B743-7029-45A4-8665-06E89468E6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AF05CE2-D153-D5CC-D22A-B60EEC3D083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FF2616-0E58-458D-E7C7-083887064B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1"/>
            <a:ext cx="9143999" cy="514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0888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655F8-D883-D0CE-5333-E45B3A31CF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01B7ECC-E7D3-87B6-E897-E6CB7D4F8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01B7ECC-E7D3-87B6-E897-E6CB7D4F8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88C23F9-3572-C1D1-CB63-762555C01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47B37E1-2A1C-755E-D015-5D8B30D50B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4</a:t>
            </a:fld>
            <a:endParaRPr lang="en-US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E7C6AA6-B143-FD7C-92B4-2CF96684BF77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9" b="7799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898157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F80EAB-01F0-89F6-1A33-FCEA65CB0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E88E53-E4A6-21D8-A558-4E42E32927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D5478C-CE97-DC41-D00E-9B24EC4FE1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5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9C8B91-87E7-2889-090E-E46BA5435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Introduction to react</a:t>
            </a:r>
          </a:p>
        </p:txBody>
      </p:sp>
      <p:pic>
        <p:nvPicPr>
          <p:cNvPr id="1026" name="Picture 2" descr="Generated image">
            <a:extLst>
              <a:ext uri="{FF2B5EF4-FFF2-40B4-BE49-F238E27FC236}">
                <a16:creationId xmlns:a16="http://schemas.microsoft.com/office/drawing/2014/main" id="{F0E12A8F-6CF2-383B-FB94-6DE3E43C3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976" y="1026067"/>
            <a:ext cx="5896792" cy="330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98018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4C431E-130D-E399-56ED-3D7B8F082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577CFF-241D-FBD8-1045-BE0880F4D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eatur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B108A9-EF50-691C-C4DD-915131738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782ED0-5FC9-BBB9-CD0F-E5F1ED02AA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178A31A-4F37-D5F6-1D34-DD5BCE1747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889477"/>
            <a:ext cx="7091362" cy="1476795"/>
          </a:xfrm>
        </p:spPr>
        <p:txBody>
          <a:bodyPr/>
          <a:lstStyle/>
          <a:p>
            <a:r>
              <a:rPr lang="en-US" dirty="0"/>
              <a:t>📦 </a:t>
            </a:r>
            <a:r>
              <a:rPr lang="en-US" b="1" dirty="0"/>
              <a:t>Component-based</a:t>
            </a:r>
            <a:r>
              <a:rPr lang="en-US" dirty="0"/>
              <a:t> → Breaks big app into small pieces.</a:t>
            </a:r>
          </a:p>
          <a:p>
            <a:r>
              <a:rPr lang="en-US" dirty="0"/>
              <a:t>⚡ </a:t>
            </a:r>
            <a:r>
              <a:rPr lang="en-US" b="1" dirty="0"/>
              <a:t>Fast</a:t>
            </a:r>
            <a:r>
              <a:rPr lang="en-US" dirty="0"/>
              <a:t> → React updates only the part of the screen that changes.</a:t>
            </a:r>
          </a:p>
          <a:p>
            <a:r>
              <a:rPr lang="en-US" dirty="0"/>
              <a:t>🔄 </a:t>
            </a:r>
            <a:r>
              <a:rPr lang="en-US" b="1" dirty="0"/>
              <a:t>Reusable</a:t>
            </a:r>
            <a:r>
              <a:rPr lang="en-US" dirty="0"/>
              <a:t> → Build once, use many times.</a:t>
            </a:r>
          </a:p>
          <a:p>
            <a:r>
              <a:rPr lang="en-US" dirty="0"/>
              <a:t>🌍 </a:t>
            </a:r>
            <a:r>
              <a:rPr lang="en-US" b="1" dirty="0"/>
              <a:t>Popular</a:t>
            </a:r>
            <a:r>
              <a:rPr lang="en-US" dirty="0"/>
              <a:t> → Used by companies like Instagram, Netflix, Flipkart, etc.        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3DF9065D-C715-0BAE-4033-C61C8F6386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2478383"/>
            <a:ext cx="3919060" cy="188321"/>
          </a:xfrm>
        </p:spPr>
        <p:txBody>
          <a:bodyPr/>
          <a:lstStyle/>
          <a:p>
            <a:pPr lvl="0"/>
            <a:r>
              <a:rPr lang="en-US" dirty="0"/>
              <a:t>How React works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260E21CC-E164-8D93-AC94-6704220FC999}"/>
              </a:ext>
            </a:extLst>
          </p:cNvPr>
          <p:cNvSpPr txBox="1">
            <a:spLocks/>
          </p:cNvSpPr>
          <p:nvPr/>
        </p:nvSpPr>
        <p:spPr bwMode="gray">
          <a:xfrm>
            <a:off x="302420" y="2952537"/>
            <a:ext cx="7091362" cy="1476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Break UI into Components</a:t>
            </a:r>
            <a:r>
              <a:rPr lang="en-US" dirty="0"/>
              <a:t> → (e.g., Button, Header, Footer). </a:t>
            </a:r>
          </a:p>
          <a:p>
            <a:r>
              <a:rPr lang="en-US" b="1" dirty="0"/>
              <a:t>Write JSX</a:t>
            </a:r>
            <a:r>
              <a:rPr lang="en-US" dirty="0"/>
              <a:t> → Code looks like HTML inside JavaScript.</a:t>
            </a:r>
          </a:p>
          <a:p>
            <a:r>
              <a:rPr lang="en-US" b="1" dirty="0"/>
              <a:t>Virtual DOM</a:t>
            </a:r>
            <a:r>
              <a:rPr lang="en-US" dirty="0"/>
              <a:t> → React tracks changes and updates only what’s needed.</a:t>
            </a:r>
          </a:p>
          <a:p>
            <a:r>
              <a:rPr lang="en-US" b="1" dirty="0"/>
              <a:t>Render UI</a:t>
            </a:r>
            <a:r>
              <a:rPr lang="en-US" dirty="0"/>
              <a:t> → Browser shows updated content instantly.</a:t>
            </a:r>
          </a:p>
        </p:txBody>
      </p:sp>
    </p:spTree>
    <p:extLst>
      <p:ext uri="{BB962C8B-B14F-4D97-AF65-F5344CB8AC3E}">
        <p14:creationId xmlns:p14="http://schemas.microsoft.com/office/powerpoint/2010/main" val="35461954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298C77-CD41-7848-A67A-357FC2D7F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2961E1-423C-1277-7D45-F47FE0523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up a React Project with Vi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21F1AF-EF97-D0EE-9E8C-0D8AE6BD90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FD5D4E-D386-4BED-5B9E-26C3972C18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530A07A-2079-C05E-4819-88200AA197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1800" y="3349107"/>
            <a:ext cx="7091362" cy="1476795"/>
          </a:xfrm>
        </p:spPr>
        <p:txBody>
          <a:bodyPr/>
          <a:lstStyle/>
          <a:p>
            <a:r>
              <a:rPr lang="en-US" dirty="0"/>
              <a:t>Open VS Code → Command prompt</a:t>
            </a:r>
            <a:endParaRPr lang="en-US" b="1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6BA039A2-05E3-B470-1A6F-50A18922C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800" y="2764216"/>
            <a:ext cx="3919060" cy="188321"/>
          </a:xfrm>
        </p:spPr>
        <p:txBody>
          <a:bodyPr/>
          <a:lstStyle/>
          <a:p>
            <a:r>
              <a:rPr lang="en-US" dirty="0"/>
              <a:t>Create a React Project with Vit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7EDFDA3A-1FB9-7025-2FCB-2DC3E1D7E939}"/>
              </a:ext>
            </a:extLst>
          </p:cNvPr>
          <p:cNvSpPr txBox="1">
            <a:spLocks/>
          </p:cNvSpPr>
          <p:nvPr/>
        </p:nvSpPr>
        <p:spPr bwMode="gray">
          <a:xfrm>
            <a:off x="302420" y="2952537"/>
            <a:ext cx="7091362" cy="1476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1A8FA8E-0934-0A61-3B45-1421D5EDBB81}"/>
              </a:ext>
            </a:extLst>
          </p:cNvPr>
          <p:cNvSpPr txBox="1">
            <a:spLocks/>
          </p:cNvSpPr>
          <p:nvPr/>
        </p:nvSpPr>
        <p:spPr bwMode="gray">
          <a:xfrm>
            <a:off x="459343" y="1500576"/>
            <a:ext cx="7091362" cy="8357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Prerequisites:</a:t>
            </a:r>
          </a:p>
          <a:p>
            <a:r>
              <a:rPr lang="en-US" dirty="0"/>
              <a:t>✅ Install </a:t>
            </a:r>
            <a:r>
              <a:rPr lang="en-US" b="1" dirty="0"/>
              <a:t>Node.js</a:t>
            </a:r>
            <a:r>
              <a:rPr lang="en-US" dirty="0"/>
              <a:t> (latest LTS version) → https://nodejs.org</a:t>
            </a:r>
            <a:br>
              <a:rPr lang="en-US" dirty="0"/>
            </a:br>
            <a:r>
              <a:rPr lang="en-US" dirty="0"/>
              <a:t>✅ Install a </a:t>
            </a:r>
            <a:r>
              <a:rPr lang="en-US" b="1" dirty="0"/>
              <a:t>code editor</a:t>
            </a:r>
            <a:r>
              <a:rPr lang="en-US" dirty="0"/>
              <a:t> (VS Code).</a:t>
            </a:r>
          </a:p>
          <a:p>
            <a:pPr marL="0" indent="0"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070910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AC543-1D3F-CC87-582A-98CAE5E3A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A1CEE6-E6AB-84DD-D419-DC1071F93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27" y="211769"/>
            <a:ext cx="3945877" cy="547511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z="2500" kern="1200" cap="all" baseline="0" dirty="0"/>
              <a:t>Create a react projec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8D29EF0-10E3-48B0-34C8-A7C00B6032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0F8C870-FF86-7B76-C756-C7E5B8741C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8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03BA18-13C3-32CD-9D11-054514F6BD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122" y="0"/>
            <a:ext cx="3945878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2086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D0EF96-CF56-90CB-ECD5-710B5C582B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A04759-BD2D-2490-A9D0-C110CBC01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3915619" cy="153888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kern="1200" cap="all" baseline="0"/>
              <a:t>Create a react projec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669A24-8684-DC4F-646C-B1D70841C2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94EC0C-4270-376C-6309-BFFE297113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9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16629CE-C0E0-3E85-DB74-3D46BBF1D8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0417" y="303212"/>
            <a:ext cx="4002897" cy="4305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5318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3FB4D-4A4C-5808-E782-93F505B98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31E8489-9739-58FC-7320-11A3E185B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31E8489-9739-58FC-7320-11A3E185B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DCD1C6B0-CA63-AC7B-6F60-D61D4F2AB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eb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39A735-BC7F-BC4E-D84F-5C5114189C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AC9935-591A-1B26-6C51-B97854E3C9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89C7623-D0ED-6B8B-9C1D-39F4E36E8A6C}"/>
              </a:ext>
            </a:extLst>
          </p:cNvPr>
          <p:cNvSpPr txBox="1">
            <a:spLocks/>
          </p:cNvSpPr>
          <p:nvPr/>
        </p:nvSpPr>
        <p:spPr bwMode="gray">
          <a:xfrm>
            <a:off x="302420" y="1610586"/>
            <a:ext cx="7091362" cy="768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13" name="Picture 12" descr="A diagram of a cloud computing system">
            <a:extLst>
              <a:ext uri="{FF2B5EF4-FFF2-40B4-BE49-F238E27FC236}">
                <a16:creationId xmlns:a16="http://schemas.microsoft.com/office/drawing/2014/main" id="{003124DD-6AA0-532B-9CC7-4F7A0EA763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827" y="842407"/>
            <a:ext cx="6190972" cy="2808214"/>
          </a:xfrm>
          <a:prstGeom prst="rect">
            <a:avLst/>
          </a:prstGeom>
        </p:spPr>
      </p:pic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1EF0E18C-3BE3-52FD-D83E-C6F182C5FDFA}"/>
              </a:ext>
            </a:extLst>
          </p:cNvPr>
          <p:cNvSpPr txBox="1">
            <a:spLocks/>
          </p:cNvSpPr>
          <p:nvPr/>
        </p:nvSpPr>
        <p:spPr bwMode="gray">
          <a:xfrm>
            <a:off x="341810" y="3451164"/>
            <a:ext cx="7091362" cy="188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1200" b="1" kern="120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s (Application Programming Interfaces)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A30D743-B4A6-D96B-54C2-7B7CC11E23FC}"/>
              </a:ext>
            </a:extLst>
          </p:cNvPr>
          <p:cNvSpPr txBox="1">
            <a:spLocks/>
          </p:cNvSpPr>
          <p:nvPr/>
        </p:nvSpPr>
        <p:spPr bwMode="gray">
          <a:xfrm>
            <a:off x="327632" y="3802354"/>
            <a:ext cx="7091362" cy="768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s are like </a:t>
            </a:r>
            <a:r>
              <a:rPr lang="en-US" b="1" dirty="0"/>
              <a:t>messengers</a:t>
            </a:r>
            <a:r>
              <a:rPr lang="en-US" dirty="0"/>
              <a:t> that allow different apps or services to talk to each other.</a:t>
            </a:r>
          </a:p>
          <a:p>
            <a:r>
              <a:rPr lang="en-US" b="1" dirty="0"/>
              <a:t>Example</a:t>
            </a:r>
            <a:r>
              <a:rPr lang="en-US" dirty="0"/>
              <a:t>: When a website shows </a:t>
            </a:r>
            <a:r>
              <a:rPr lang="en-US" b="1" dirty="0"/>
              <a:t>Google Maps</a:t>
            </a:r>
            <a:r>
              <a:rPr lang="en-US" dirty="0"/>
              <a:t>, it uses the </a:t>
            </a:r>
            <a:r>
              <a:rPr lang="en-US" b="1" dirty="0"/>
              <a:t>Google Maps API</a:t>
            </a:r>
            <a:r>
              <a:rPr lang="en-US" dirty="0"/>
              <a:t> to fetch data.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4660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5DD41-50A5-6A2D-A346-440DCDC8C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8147FE-84E9-3E39-2A45-36F6054E4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3919060" cy="512961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z="2500" kern="1200" cap="all" baseline="0" dirty="0"/>
              <a:t>Create a react projec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726D9A9-50F6-576A-83E1-EF00392A91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5E4FFC-4729-4258-7BB7-A284991511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0</a:t>
            </a:fld>
            <a:endParaRPr lang="en-US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1C8FBD3A-51FA-6F9F-D689-DEA78B46E903}"/>
              </a:ext>
            </a:extLst>
          </p:cNvPr>
          <p:cNvSpPr txBox="1">
            <a:spLocks/>
          </p:cNvSpPr>
          <p:nvPr/>
        </p:nvSpPr>
        <p:spPr bwMode="gray">
          <a:xfrm>
            <a:off x="300038" y="1492249"/>
            <a:ext cx="3470275" cy="143383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4000"/>
              </a:lnSpc>
              <a:buNone/>
            </a:pPr>
            <a:r>
              <a:rPr lang="en-US" sz="2000" kern="1200" dirty="0">
                <a:solidFill>
                  <a:schemeClr val="bg1"/>
                </a:solidFill>
                <a:latin typeface="+mj-lt"/>
                <a:ea typeface="GT Flexa Bl" pitchFamily="2" charset="0"/>
                <a:cs typeface="GT Flexa Bl" pitchFamily="2" charset="0"/>
              </a:rPr>
              <a:t>Open the link (e.g., </a:t>
            </a:r>
            <a:r>
              <a:rPr lang="en-US" sz="2000" b="1" kern="1200" dirty="0">
                <a:solidFill>
                  <a:schemeClr val="bg1"/>
                </a:solidFill>
                <a:latin typeface="+mj-lt"/>
                <a:ea typeface="GT Flexa Bl" pitchFamily="2" charset="0"/>
                <a:cs typeface="GT Flexa Bl" pitchFamily="2" charset="0"/>
              </a:rPr>
              <a:t>http://localhost:5173/) </a:t>
            </a:r>
            <a:r>
              <a:rPr lang="en-US" sz="2000" kern="1200" dirty="0">
                <a:solidFill>
                  <a:schemeClr val="bg1"/>
                </a:solidFill>
                <a:latin typeface="+mj-lt"/>
                <a:ea typeface="GT Flexa Bl" pitchFamily="2" charset="0"/>
                <a:cs typeface="GT Flexa Bl" pitchFamily="2" charset="0"/>
              </a:rPr>
              <a:t>in the browser → Your React app is running 🎉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88804B-FF2B-6FFC-23CF-751ED6E842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9431" y="426133"/>
            <a:ext cx="3200564" cy="4292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68025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05EA043-A34B-4FED-BA0C-D5369501B6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D5B133-2FE6-44EF-A08D-E6D08AC1C4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5E5A26-0892-491F-985B-FAC616EBA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SX – Writing HTML inside JavaScrip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62710EB-B4A2-4467-81F0-6E3BBD3C0C6B}"/>
              </a:ext>
            </a:extLst>
          </p:cNvPr>
          <p:cNvSpPr txBox="1"/>
          <p:nvPr/>
        </p:nvSpPr>
        <p:spPr>
          <a:xfrm>
            <a:off x="300038" y="1492249"/>
            <a:ext cx="2404251" cy="3060296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wrap="square" lIns="108000" tIns="108000" rIns="108000" bIns="10800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rgbClr val="E1000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sz="1200" b="1" dirty="0">
                <a:solidFill>
                  <a:srgbClr val="E1000F"/>
                </a:solidFill>
                <a:latin typeface="Segoe UI"/>
              </a:rPr>
              <a:t>HTML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1000F"/>
              </a:solidFill>
              <a:effectLst/>
              <a:uLnTx/>
              <a:uFillTx/>
              <a:latin typeface="Segoe UI"/>
            </a:endParaRP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&lt;!DOCTYPE html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&lt;html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&lt;head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  &lt;title&gt;HTML Example&lt;/title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&lt;/head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&lt;body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  &lt;h1&gt;Hello World&lt;/h1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&lt;/body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&lt;/html&gt;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971284D-F162-4247-9C4D-5CC2E15BF387}"/>
              </a:ext>
            </a:extLst>
          </p:cNvPr>
          <p:cNvSpPr txBox="1"/>
          <p:nvPr/>
        </p:nvSpPr>
        <p:spPr>
          <a:xfrm>
            <a:off x="2937753" y="1492250"/>
            <a:ext cx="3005847" cy="3060295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wrap="square" lIns="108000" tIns="108000" rIns="108000" bIns="10800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rgbClr val="E1000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sz="1200" b="1" dirty="0">
                <a:solidFill>
                  <a:srgbClr val="E1000F"/>
                </a:solidFill>
                <a:latin typeface="Segoe UI"/>
              </a:rPr>
              <a:t>JAVACRIPT</a:t>
            </a:r>
          </a:p>
          <a:p>
            <a:r>
              <a:rPr lang="en-US" sz="1200" dirty="0"/>
              <a:t>&lt;script&gt;</a:t>
            </a:r>
          </a:p>
          <a:p>
            <a:endParaRPr lang="en-US" sz="1200" dirty="0"/>
          </a:p>
          <a:p>
            <a:r>
              <a:rPr lang="en-US" sz="1200" dirty="0"/>
              <a:t>const name = "World";</a:t>
            </a:r>
          </a:p>
          <a:p>
            <a:endParaRPr lang="en-US" sz="1200" dirty="0"/>
          </a:p>
          <a:p>
            <a:r>
              <a:rPr lang="en-US" sz="1200" dirty="0"/>
              <a:t>const root = </a:t>
            </a:r>
            <a:r>
              <a:rPr lang="en-US" sz="1200" dirty="0" err="1"/>
              <a:t>document.getElementById</a:t>
            </a:r>
            <a:r>
              <a:rPr lang="en-US" sz="1200" dirty="0"/>
              <a:t>("root");</a:t>
            </a:r>
          </a:p>
          <a:p>
            <a:endParaRPr lang="en-US" sz="1200" dirty="0"/>
          </a:p>
          <a:p>
            <a:r>
              <a:rPr lang="en-US" sz="1200" dirty="0"/>
              <a:t>const heading = </a:t>
            </a:r>
            <a:r>
              <a:rPr lang="en-US" sz="1200" dirty="0" err="1"/>
              <a:t>document.createElement</a:t>
            </a:r>
            <a:r>
              <a:rPr lang="en-US" sz="1200" dirty="0"/>
              <a:t>("h1");</a:t>
            </a:r>
          </a:p>
          <a:p>
            <a:endParaRPr lang="en-US" sz="1200" dirty="0"/>
          </a:p>
          <a:p>
            <a:r>
              <a:rPr lang="en-US" sz="1200" dirty="0" err="1"/>
              <a:t>heading.textContent</a:t>
            </a:r>
            <a:r>
              <a:rPr lang="en-US" sz="1200" dirty="0"/>
              <a:t> = "Hello " + name;</a:t>
            </a:r>
          </a:p>
          <a:p>
            <a:r>
              <a:rPr lang="en-US" sz="1200" dirty="0" err="1"/>
              <a:t>root.appendChild</a:t>
            </a:r>
            <a:r>
              <a:rPr lang="en-US" sz="1200" dirty="0"/>
              <a:t>(heading);</a:t>
            </a:r>
          </a:p>
          <a:p>
            <a:endParaRPr lang="en-US" sz="1200" dirty="0"/>
          </a:p>
          <a:p>
            <a:r>
              <a:rPr lang="en-US" sz="1200" dirty="0"/>
              <a:t>&lt;/script&gt;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5AC142A-B8F2-4E0D-8743-7E31427EA384}"/>
              </a:ext>
            </a:extLst>
          </p:cNvPr>
          <p:cNvSpPr txBox="1"/>
          <p:nvPr/>
        </p:nvSpPr>
        <p:spPr>
          <a:xfrm>
            <a:off x="6100762" y="1492250"/>
            <a:ext cx="2743200" cy="306029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108000" tIns="108000" rIns="108000" bIns="10800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rgbClr val="E1000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</a:rPr>
              <a:t>JSX</a:t>
            </a:r>
          </a:p>
          <a:p>
            <a:r>
              <a:rPr lang="en-US" sz="1200" dirty="0">
                <a:solidFill>
                  <a:schemeClr val="bg1"/>
                </a:solidFill>
              </a:rPr>
              <a:t>const name = "World";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function App(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return &lt;h1&gt;Hello {name}&lt;/h1&gt;;</a:t>
            </a:r>
          </a:p>
          <a:p>
            <a:r>
              <a:rPr lang="en-US" sz="1200" dirty="0">
                <a:solidFill>
                  <a:schemeClr val="bg1"/>
                </a:solidFill>
              </a:rPr>
              <a:t>}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export default App;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651549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F50400-EC46-76CA-D30A-E4D5BC3FC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E4E3C26-FE87-042D-1F27-511582142C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EDDE43-1E51-ABFE-BCE8-159F720F73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2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55E37D-309C-992C-1704-E56E8381F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CSS Modules &amp; Inline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2349D6-B7B4-F811-22D6-4000AACA5A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6835" y="947965"/>
            <a:ext cx="4117127" cy="17184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FC9725-A812-CC1E-7279-F78035B6E5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9" y="947965"/>
            <a:ext cx="4271962" cy="3685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29904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96889B-93D8-E4B2-9E7A-89C169658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EA6D89-71A5-4023-780B-66FB11CC4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62D714-0F15-ED63-A98C-C0CFA630D0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903F67-884D-DBAE-1462-89240091E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Tailwind CS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124F44-F654-C6C2-05C3-B22E26A9D6A4}"/>
              </a:ext>
            </a:extLst>
          </p:cNvPr>
          <p:cNvSpPr txBox="1"/>
          <p:nvPr/>
        </p:nvSpPr>
        <p:spPr bwMode="gray">
          <a:xfrm>
            <a:off x="191737" y="999137"/>
            <a:ext cx="6948959" cy="106140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D20D48-AB56-B2DC-7252-F22F6D8D4223}"/>
              </a:ext>
            </a:extLst>
          </p:cNvPr>
          <p:cNvSpPr txBox="1"/>
          <p:nvPr/>
        </p:nvSpPr>
        <p:spPr>
          <a:xfrm>
            <a:off x="3666216" y="2499768"/>
            <a:ext cx="481630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bg-blue-500 → Medium blue background (shade 50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text-white → White text for contra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px-4 → 16px padding left &amp; righ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py-2 → 8px padding top &amp; botto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rounded → Smooth, slightly rounded corner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D7057D-B60D-C5E5-DDDE-1F0A47450F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042" y="1158706"/>
            <a:ext cx="6577563" cy="8851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F623C78-D037-5525-45F4-9E73A91B58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091" y="2655897"/>
            <a:ext cx="2101958" cy="857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9135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FEFEA7-EB62-FBA2-0F98-7DD989DD6F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7A04DF-0E8D-BCBD-6AC3-F4E02F9AB4B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99927D9-5DE0-C7BB-2F56-DD78F26641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C09F6F8-8DA3-A476-294D-6A20DEC8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 err="1"/>
              <a:t>FRAgment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B2A158-CA15-B8E5-CC6E-D5CF7DFF067B}"/>
              </a:ext>
            </a:extLst>
          </p:cNvPr>
          <p:cNvSpPr txBox="1"/>
          <p:nvPr/>
        </p:nvSpPr>
        <p:spPr bwMode="gray">
          <a:xfrm>
            <a:off x="191737" y="999137"/>
            <a:ext cx="6948959" cy="106140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A Fragment lets you group multiple elements without adding an extra &lt;div&gt; in the DOM.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Normally React components must return one parent element. If you don’t want an extra &lt;div&gt; just for grouping then Fragment come in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F6C9B9F-21C6-1A1D-5161-11D7C8BFD7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593" y="2060545"/>
            <a:ext cx="2124174" cy="241659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41E15DE-760B-A06B-FBB9-35C71DD44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4128" y="2060545"/>
            <a:ext cx="2030194" cy="243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48605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04E70B-9413-4127-8465-86698BC7D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04E70B-9413-4127-8465-86698BC7D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604A3E3-F23E-469B-92FF-6707E2B0F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E71B743-7029-45A4-8665-06E89468E6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AF05CE2-D153-D5CC-D22A-B60EEC3D083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 descr="Class vs Functional Components: Key Differences Explained">
            <a:extLst>
              <a:ext uri="{FF2B5EF4-FFF2-40B4-BE49-F238E27FC236}">
                <a16:creationId xmlns:a16="http://schemas.microsoft.com/office/drawing/2014/main" id="{C4496BF3-DC05-35BC-A34B-EB1A2652FA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54" b="7995"/>
          <a:stretch>
            <a:fillRect/>
          </a:stretch>
        </p:blipFill>
        <p:spPr bwMode="auto">
          <a:xfrm>
            <a:off x="0" y="-16575"/>
            <a:ext cx="9144000" cy="5161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170705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E736FFB-847D-494E-A90E-A4C6C3E00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difference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B9BC4B-B668-4A85-9817-0A2C882AD1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968863-EDEC-4003-BF96-8E50965CF7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46</a:t>
            </a:fld>
            <a:endParaRPr lang="en-US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A7235D3-31C4-1295-C01E-4F62BF842D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231725"/>
              </p:ext>
            </p:extLst>
          </p:nvPr>
        </p:nvGraphicFramePr>
        <p:xfrm>
          <a:off x="244942" y="1063784"/>
          <a:ext cx="4627203" cy="3017520"/>
        </p:xfrm>
        <a:graphic>
          <a:graphicData uri="http://schemas.openxmlformats.org/drawingml/2006/table">
            <a:tbl>
              <a:tblPr/>
              <a:tblGrid>
                <a:gridCol w="1542401">
                  <a:extLst>
                    <a:ext uri="{9D8B030D-6E8A-4147-A177-3AD203B41FA5}">
                      <a16:colId xmlns:a16="http://schemas.microsoft.com/office/drawing/2014/main" val="3427467494"/>
                    </a:ext>
                  </a:extLst>
                </a:gridCol>
                <a:gridCol w="1542401">
                  <a:extLst>
                    <a:ext uri="{9D8B030D-6E8A-4147-A177-3AD203B41FA5}">
                      <a16:colId xmlns:a16="http://schemas.microsoft.com/office/drawing/2014/main" val="985053004"/>
                    </a:ext>
                  </a:extLst>
                </a:gridCol>
                <a:gridCol w="1542401">
                  <a:extLst>
                    <a:ext uri="{9D8B030D-6E8A-4147-A177-3AD203B41FA5}">
                      <a16:colId xmlns:a16="http://schemas.microsoft.com/office/drawing/2014/main" val="32472942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solidFill>
                            <a:schemeClr val="accent1"/>
                          </a:solidFill>
                        </a:rPr>
                        <a:t>Featur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solidFill>
                            <a:schemeClr val="accent1"/>
                          </a:solidFill>
                        </a:rPr>
                        <a:t>Functional Componen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solidFill>
                            <a:schemeClr val="accent1"/>
                          </a:solidFill>
                        </a:rPr>
                        <a:t>Class Componen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3311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Syntax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Function / Arrow funct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ES6 Class</a:t>
                      </a:r>
                    </a:p>
                    <a:p>
                      <a:pPr>
                        <a:buNone/>
                      </a:pPr>
                      <a:endParaRPr lang="en-US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6073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Stat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 err="1"/>
                        <a:t>useState</a:t>
                      </a:r>
                      <a:r>
                        <a:rPr lang="en-US" dirty="0"/>
                        <a:t> Hoo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 err="1"/>
                        <a:t>this.state</a:t>
                      </a:r>
                      <a:endParaRPr lang="en-US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94595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Lifecycl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 err="1"/>
                        <a:t>useEffect</a:t>
                      </a:r>
                      <a:r>
                        <a:rPr lang="en-US" dirty="0"/>
                        <a:t> Hoo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Lifecycle method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0241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Code length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Short &amp; clean ✅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Longer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91063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Modern Reac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✔️ Recommende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❌ Less use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373137"/>
                  </a:ext>
                </a:extLst>
              </a:tr>
            </a:tbl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D9358320-EE22-466B-3E0F-9A750EBACF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6540" y="70884"/>
            <a:ext cx="4047460" cy="224701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6F81561-ADF8-9181-CCEA-5A58A8F548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0756" y="2374605"/>
            <a:ext cx="3953244" cy="277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3818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AutoShape 6" descr="Handling Multiple and Conditional React onClick Events.">
            <a:extLst>
              <a:ext uri="{FF2B5EF4-FFF2-40B4-BE49-F238E27FC236}">
                <a16:creationId xmlns:a16="http://schemas.microsoft.com/office/drawing/2014/main" id="{97AB0FAB-3D13-D648-2C47-142FBA5BC90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42" name="Picture 18" descr="How to Use the onclick DOM Event with JavaScript - Tabnine">
            <a:extLst>
              <a:ext uri="{FF2B5EF4-FFF2-40B4-BE49-F238E27FC236}">
                <a16:creationId xmlns:a16="http://schemas.microsoft.com/office/drawing/2014/main" id="{8E8FEB27-20D8-F262-1D02-9D9C242F27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2821"/>
            <a:ext cx="9144000" cy="5207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el 1">
            <a:extLst>
              <a:ext uri="{FF2B5EF4-FFF2-40B4-BE49-F238E27FC236}">
                <a16:creationId xmlns:a16="http://schemas.microsoft.com/office/drawing/2014/main" id="{A6D1FCA1-06A3-FBB8-0911-B11C5D3C7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2978252" cy="615553"/>
          </a:xfrm>
        </p:spPr>
        <p:txBody>
          <a:bodyPr anchor="ctr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vent Handling</a:t>
            </a:r>
          </a:p>
        </p:txBody>
      </p:sp>
    </p:spTree>
    <p:extLst>
      <p:ext uri="{BB962C8B-B14F-4D97-AF65-F5344CB8AC3E}">
        <p14:creationId xmlns:p14="http://schemas.microsoft.com/office/powerpoint/2010/main" val="30332813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58693D-F428-3D6A-15B1-89E819D26D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7624784-D1C4-4992-0EC0-D56F23AD9C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748627-469C-64AC-6702-18C6FE4BEA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8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13E0B6-5751-A293-49EA-5F287E307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Event Handl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960FE8-3107-86C3-A259-5054C3D2F5FA}"/>
              </a:ext>
            </a:extLst>
          </p:cNvPr>
          <p:cNvSpPr txBox="1"/>
          <p:nvPr/>
        </p:nvSpPr>
        <p:spPr bwMode="gray">
          <a:xfrm>
            <a:off x="191737" y="999137"/>
            <a:ext cx="6948959" cy="106140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57D317-41C1-BA43-FF70-937C2BB8B8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128" y="1354264"/>
            <a:ext cx="4013588" cy="22378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6DF6529-8AFA-CC55-997E-6544F53F4351}"/>
              </a:ext>
            </a:extLst>
          </p:cNvPr>
          <p:cNvSpPr txBox="1"/>
          <p:nvPr/>
        </p:nvSpPr>
        <p:spPr>
          <a:xfrm>
            <a:off x="4571998" y="2060545"/>
            <a:ext cx="426487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Events are actions that happen in the browser.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Examples: Button click, typing in a textbox, mouse hover, etc.</a:t>
            </a:r>
          </a:p>
        </p:txBody>
      </p:sp>
    </p:spTree>
    <p:extLst>
      <p:ext uri="{BB962C8B-B14F-4D97-AF65-F5344CB8AC3E}">
        <p14:creationId xmlns:p14="http://schemas.microsoft.com/office/powerpoint/2010/main" val="226622976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DEE4DD-F4B0-F0E8-C777-92708C319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F1B835-209C-4F5D-ADB0-105ECF5CE7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F1B835-209C-4F5D-ADB0-105ECF5CE7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810F208F-E86E-E9BB-7E98-F587FCE2E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Props in React?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CB3BC4-3316-A63F-856E-875ACCF718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A10468E-92E3-8EB3-82FF-8F64BF72DF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49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413B9A7-7791-38CC-33E3-F07E46D978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4"/>
            <a:ext cx="7091362" cy="2539005"/>
          </a:xfrm>
        </p:spPr>
        <p:txBody>
          <a:bodyPr/>
          <a:lstStyle/>
          <a:p>
            <a:r>
              <a:rPr lang="en-US" b="1" dirty="0"/>
              <a:t>Props = Properties</a:t>
            </a:r>
          </a:p>
          <a:p>
            <a:r>
              <a:rPr lang="en-US" dirty="0"/>
              <a:t>They are like </a:t>
            </a:r>
            <a:r>
              <a:rPr lang="en-US" b="1" dirty="0"/>
              <a:t>arguments to a function.</a:t>
            </a:r>
          </a:p>
          <a:p>
            <a:r>
              <a:rPr lang="en-US" dirty="0"/>
              <a:t>Props let us </a:t>
            </a:r>
            <a:r>
              <a:rPr lang="en-US" b="1" dirty="0"/>
              <a:t>pass data from one component to another. (i.e., parent to child)</a:t>
            </a:r>
          </a:p>
          <a:p>
            <a:r>
              <a:rPr lang="en-US" b="1" dirty="0"/>
              <a:t>Read-only</a:t>
            </a:r>
            <a:r>
              <a:rPr lang="en-US" dirty="0"/>
              <a:t> → a child component can use them but cannot change them.</a:t>
            </a:r>
          </a:p>
        </p:txBody>
      </p:sp>
    </p:spTree>
    <p:extLst>
      <p:ext uri="{BB962C8B-B14F-4D97-AF65-F5344CB8AC3E}">
        <p14:creationId xmlns:p14="http://schemas.microsoft.com/office/powerpoint/2010/main" val="13355741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310CE0A-9AAD-4E7F-A2A7-EF175D65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HTML, CSS, and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C3F69D-D76D-4CFB-AD5F-C2A6D428E3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C0427A-C23D-481C-8E1B-1076EC28FD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0883F-F124-4187-9967-B03237F827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092312"/>
            <a:ext cx="7091362" cy="188321"/>
          </a:xfrm>
        </p:spPr>
        <p:txBody>
          <a:bodyPr/>
          <a:lstStyle/>
          <a:p>
            <a:r>
              <a:rPr lang="en-US" dirty="0"/>
              <a:t>HTML (</a:t>
            </a:r>
            <a:r>
              <a:rPr lang="en-US" dirty="0" err="1"/>
              <a:t>HyperText</a:t>
            </a:r>
            <a:r>
              <a:rPr lang="en-US" dirty="0"/>
              <a:t> Markup Language) – Structu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B1E615-E944-47CD-AC27-55B477280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513771"/>
            <a:ext cx="7091362" cy="2539005"/>
          </a:xfrm>
        </p:spPr>
        <p:txBody>
          <a:bodyPr/>
          <a:lstStyle/>
          <a:p>
            <a:r>
              <a:rPr lang="en-US" dirty="0"/>
              <a:t>HTML is the </a:t>
            </a:r>
            <a:r>
              <a:rPr lang="en-US" b="1" dirty="0"/>
              <a:t>skeleton</a:t>
            </a:r>
            <a:r>
              <a:rPr lang="en-US" dirty="0"/>
              <a:t> of a web page.</a:t>
            </a:r>
          </a:p>
          <a:p>
            <a:r>
              <a:rPr lang="en-US" dirty="0"/>
              <a:t>It defines </a:t>
            </a:r>
            <a:r>
              <a:rPr lang="en-US" b="1" dirty="0"/>
              <a:t>headings, paragraphs, images, links, tables, forms</a:t>
            </a:r>
            <a:r>
              <a:rPr lang="en-US" dirty="0"/>
              <a:t>, etc.</a:t>
            </a:r>
          </a:p>
          <a:p>
            <a:r>
              <a:rPr lang="en-US" dirty="0"/>
              <a:t>HTML = What you see (content).</a:t>
            </a:r>
          </a:p>
          <a:p>
            <a:pPr marL="0" indent="0">
              <a:buNone/>
            </a:pPr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50808959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88D443-23A1-414F-89ED-4DB6355662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88D443-23A1-414F-89ED-4DB635566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0D8D01F-B822-4F6D-9C20-040C3D8C1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220DD06-162E-4A97-9E7A-9030D7B824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50</a:t>
            </a:fld>
            <a:endParaRPr lang="en-US" dirty="0"/>
          </a:p>
        </p:txBody>
      </p:sp>
      <p:pic>
        <p:nvPicPr>
          <p:cNvPr id="2052" name="Picture 4" descr="Understanding Props in React. Introduction | by devnabibia | Medium">
            <a:extLst>
              <a:ext uri="{FF2B5EF4-FFF2-40B4-BE49-F238E27FC236}">
                <a16:creationId xmlns:a16="http://schemas.microsoft.com/office/drawing/2014/main" id="{A89858AB-21AB-C425-B9DE-85D211AF3550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17" b="11417"/>
          <a:stretch>
            <a:fillRect/>
          </a:stretch>
        </p:blipFill>
        <p:spPr bwMode="auto">
          <a:xfrm>
            <a:off x="0" y="304682"/>
            <a:ext cx="5641180" cy="442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Lifting State up in React. A quick tip on how to pass data from… | by  Natasha Ferguson | Medium">
            <a:extLst>
              <a:ext uri="{FF2B5EF4-FFF2-40B4-BE49-F238E27FC236}">
                <a16:creationId xmlns:a16="http://schemas.microsoft.com/office/drawing/2014/main" id="{6C2B6280-F60D-FF54-75CA-D82D47E7B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3229" y="1063256"/>
            <a:ext cx="3281916" cy="2893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855900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093A0-07F4-675E-8703-5B0D1BD1E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3A98C1-C93C-9D93-1372-F494F135BA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F3A98C1-C93C-9D93-1372-F494F135BA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AF17115-B50D-536D-8E3C-04E9176849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415713A-B5F8-D35E-0202-00A77DB7C4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88B6297-A77B-3E71-E242-FDF886DE528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 descr="Understanding React Props: A Beginner's Guide to Passing Data between  Components">
            <a:extLst>
              <a:ext uri="{FF2B5EF4-FFF2-40B4-BE49-F238E27FC236}">
                <a16:creationId xmlns:a16="http://schemas.microsoft.com/office/drawing/2014/main" id="{FA0F1974-E205-BA6E-647D-6C4E3AC7F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444497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1C2418A-969A-4017-ABB1-D74A96131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1C2418A-969A-4017-ABB1-D74A96131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3B57460-F042-43EF-A022-E1E198052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343" y="1909375"/>
            <a:ext cx="3914738" cy="1154162"/>
          </a:xfrm>
        </p:spPr>
        <p:txBody>
          <a:bodyPr vert="horz"/>
          <a:lstStyle/>
          <a:p>
            <a:r>
              <a:rPr lang="en-US" dirty="0"/>
              <a:t>Passing Data from Child to Paren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DA5197-2314-4D7B-A279-BF30BE020C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2CB1320-8E39-49D0-AEBF-4FA3E40BB0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52</a:t>
            </a:fld>
            <a:endParaRPr lang="en-US" noProof="0" dirty="0"/>
          </a:p>
        </p:txBody>
      </p:sp>
      <p:pic>
        <p:nvPicPr>
          <p:cNvPr id="10" name="Bildplatzhalter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945DE726-323B-4448-A83C-18EF454CE56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46613" y="0"/>
            <a:ext cx="2744787" cy="5145088"/>
          </a:xfrm>
        </p:spPr>
      </p:pic>
    </p:spTree>
    <p:extLst>
      <p:ext uri="{BB962C8B-B14F-4D97-AF65-F5344CB8AC3E}">
        <p14:creationId xmlns:p14="http://schemas.microsoft.com/office/powerpoint/2010/main" val="16102823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10C17-0986-48EA-CE64-EE70543F4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45FBF0-1EC4-0570-619F-C46A401086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F1E2C2B-DE89-E3A7-7479-2DE29B872E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5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46C735-6399-870B-E51C-B57CB842B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165" y="1886272"/>
            <a:ext cx="2831669" cy="828090"/>
          </a:xfrm>
        </p:spPr>
        <p:txBody>
          <a:bodyPr anchor="ctr">
            <a:normAutofit/>
          </a:bodyPr>
          <a:lstStyle/>
          <a:p>
            <a:r>
              <a:rPr lang="en-US" dirty="0"/>
              <a:t>Child → Parent communication</a:t>
            </a:r>
          </a:p>
        </p:txBody>
      </p:sp>
      <p:pic>
        <p:nvPicPr>
          <p:cNvPr id="5" name="Picture 2" descr="React – Child To Parent Component Communication | TheCodeBuzz">
            <a:extLst>
              <a:ext uri="{FF2B5EF4-FFF2-40B4-BE49-F238E27FC236}">
                <a16:creationId xmlns:a16="http://schemas.microsoft.com/office/drawing/2014/main" id="{503E1310-F003-B421-B38A-694F4F381D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1466" y="442581"/>
            <a:ext cx="3226818" cy="425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98990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3E2EB9-665F-6087-A723-ACFBC0CCF5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F4039B-C733-819F-C9A3-2A95497440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0BA8DBA-75AF-9A00-EF5A-3632F22EC6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5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D83A6EE-8E60-2600-F2A9-C03D5491B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Child → Parent communication</a:t>
            </a:r>
          </a:p>
        </p:txBody>
      </p:sp>
      <p:pic>
        <p:nvPicPr>
          <p:cNvPr id="6146" name="Picture 2" descr="callbacks">
            <a:extLst>
              <a:ext uri="{FF2B5EF4-FFF2-40B4-BE49-F238E27FC236}">
                <a16:creationId xmlns:a16="http://schemas.microsoft.com/office/drawing/2014/main" id="{38ECF0B0-A25E-51CF-3711-F3CED78E2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1041876"/>
            <a:ext cx="8556692" cy="3258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58937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2783BF-A1D2-DD87-AA06-D6F32D8E7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729AC-B863-11E0-8EBD-BF33B82CC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State - Using </a:t>
            </a:r>
            <a:r>
              <a:rPr lang="en-US" dirty="0" err="1"/>
              <a:t>useState</a:t>
            </a:r>
            <a:r>
              <a:rPr lang="en-US" dirty="0"/>
              <a:t> to manage data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9FF964-BE51-75E5-F7D6-CF73C7FEA1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27A64A-0293-951F-E671-C25A65EAEC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55</a:t>
            </a:fld>
            <a:endParaRPr lang="en-US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70EEE49D-7603-2AF2-4A01-B5F86DEEC8CE}"/>
              </a:ext>
            </a:extLst>
          </p:cNvPr>
          <p:cNvSpPr txBox="1">
            <a:spLocks/>
          </p:cNvSpPr>
          <p:nvPr/>
        </p:nvSpPr>
        <p:spPr>
          <a:xfrm>
            <a:off x="6663193" y="1692558"/>
            <a:ext cx="2194290" cy="2768123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tate</a:t>
            </a:r>
            <a:r>
              <a:rPr lang="en-US" dirty="0"/>
              <a:t> = a component’s </a:t>
            </a:r>
            <a:r>
              <a:rPr lang="en-US" b="1" dirty="0"/>
              <a:t>memory</a:t>
            </a:r>
            <a:endParaRPr lang="en-US" dirty="0"/>
          </a:p>
          <a:p>
            <a:r>
              <a:rPr lang="en-US" b="1" dirty="0"/>
              <a:t>state belongs to the component itself</a:t>
            </a:r>
            <a:r>
              <a:rPr lang="en-US" dirty="0"/>
              <a:t>.</a:t>
            </a:r>
          </a:p>
          <a:p>
            <a:r>
              <a:rPr lang="en-US" dirty="0"/>
              <a:t>When state changes → React </a:t>
            </a:r>
            <a:r>
              <a:rPr lang="en-US" b="1" dirty="0"/>
              <a:t>re-renders</a:t>
            </a:r>
            <a:r>
              <a:rPr lang="en-US" dirty="0"/>
              <a:t> the UI automatically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227C1D-E28C-004F-F223-3E04224908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8" y="1192696"/>
            <a:ext cx="6088565" cy="3007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57934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04E70B-9413-4127-8465-86698BC7D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04E70B-9413-4127-8465-86698BC7D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604A3E3-F23E-469B-92FF-6707E2B0F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E71B743-7029-45A4-8665-06E89468E6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56</a:t>
            </a:fld>
            <a:endParaRPr lang="en-US" dirty="0"/>
          </a:p>
        </p:txBody>
      </p:sp>
      <p:pic>
        <p:nvPicPr>
          <p:cNvPr id="8194" name="Picture 2" descr="The Ultimate Guide to React useState Hook: From Zero to Hero | by ...">
            <a:extLst>
              <a:ext uri="{FF2B5EF4-FFF2-40B4-BE49-F238E27FC236}">
                <a16:creationId xmlns:a16="http://schemas.microsoft.com/office/drawing/2014/main" id="{7485243C-9C1E-8441-B5C0-09430CF36AC1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4" b="1504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930674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CB6D62-BA01-ECDD-2269-6AA321A672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D1E421A-9823-AB49-7C56-5941B9102A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D1E421A-9823-AB49-7C56-5941B9102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63155DB7-0198-6026-EAA1-7C4C467D42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2F647A0-B51B-4DA6-B2D0-AB8917281D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C2647D0-4315-84B0-857E-DF67CC27397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290" name="Picture 2" descr="Understanding the React Component Lifecycle and the useEffect Hook ...">
            <a:extLst>
              <a:ext uri="{FF2B5EF4-FFF2-40B4-BE49-F238E27FC236}">
                <a16:creationId xmlns:a16="http://schemas.microsoft.com/office/drawing/2014/main" id="{79A8B4A0-4E5E-6242-3226-B2E36930EF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3610"/>
            <a:ext cx="9144000" cy="5208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536846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33E18C-6780-1ABB-779B-EA19D25E54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BA1AA14-7713-35EE-4631-43CFCDEF39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BA1AA14-7713-35EE-4631-43CFCDEF3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46E1523-AB09-6BDE-8F2B-4FFC3D750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343" y="1909375"/>
            <a:ext cx="3914738" cy="1154162"/>
          </a:xfrm>
        </p:spPr>
        <p:txBody>
          <a:bodyPr vert="horz"/>
          <a:lstStyle/>
          <a:p>
            <a:r>
              <a:rPr lang="en-US" cap="none" dirty="0" err="1">
                <a:latin typeface="+mn-lt"/>
              </a:rPr>
              <a:t>useEffect</a:t>
            </a:r>
            <a:endParaRPr lang="en-US" cap="none" dirty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1EE4D4-CD43-D012-4C9F-EB8DD477E5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3"/>
            <a:ext cx="3151664" cy="12311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3463246-2BB8-0690-B1D5-845703443C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58</a:t>
            </a:fld>
            <a:endParaRPr lang="en-US" noProof="0" dirty="0"/>
          </a:p>
        </p:txBody>
      </p:sp>
      <p:pic>
        <p:nvPicPr>
          <p:cNvPr id="10" name="Bildplatzhalter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355FF528-00F1-E10F-B7F6-9200C405FF6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46613" y="0"/>
            <a:ext cx="2744787" cy="5145088"/>
          </a:xfrm>
        </p:spPr>
      </p:pic>
    </p:spTree>
    <p:extLst>
      <p:ext uri="{BB962C8B-B14F-4D97-AF65-F5344CB8AC3E}">
        <p14:creationId xmlns:p14="http://schemas.microsoft.com/office/powerpoint/2010/main" val="11747574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FDC035-58FE-33B2-3F91-3C6F6D51D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BC6AE9F-45A3-4973-6B31-F1BBC03D0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BC6AE9F-45A3-4973-6B31-F1BBC03D0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0B1B3EB-D95D-2C7B-D0D4-DDDD2AC26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What IS </a:t>
            </a:r>
            <a:r>
              <a:rPr lang="en-US" cap="none" dirty="0"/>
              <a:t>USEEFFECT</a:t>
            </a:r>
            <a:r>
              <a:rPr lang="en-US" dirty="0"/>
              <a:t> And How to use it?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F16E2CD-D630-8F6D-1725-484F10F4D1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87DFB74-23D1-D9FB-C1E7-FB59AA8A8C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59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06A05B3-6CC8-1F13-C91B-6041B905E7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4"/>
            <a:ext cx="7091362" cy="2539005"/>
          </a:xfrm>
        </p:spPr>
        <p:txBody>
          <a:bodyPr/>
          <a:lstStyle/>
          <a:p>
            <a:r>
              <a:rPr lang="en-US" b="1" dirty="0" err="1"/>
              <a:t>useEffect</a:t>
            </a:r>
            <a:r>
              <a:rPr lang="en-US" dirty="0"/>
              <a:t> lets you run code when your component </a:t>
            </a:r>
            <a:r>
              <a:rPr lang="en-US" b="1" dirty="0"/>
              <a:t>mounts, updates, or unmounts.</a:t>
            </a:r>
          </a:p>
          <a:p>
            <a:r>
              <a:rPr lang="en-US" dirty="0"/>
              <a:t>🟢 </a:t>
            </a:r>
            <a:r>
              <a:rPr lang="en-US" b="1" dirty="0"/>
              <a:t>Mounts</a:t>
            </a:r>
            <a:r>
              <a:rPr lang="en-US" dirty="0"/>
              <a:t> -&gt; runs </a:t>
            </a:r>
            <a:r>
              <a:rPr lang="en-US" b="1" dirty="0"/>
              <a:t>only once</a:t>
            </a:r>
            <a:r>
              <a:rPr lang="en-US" dirty="0"/>
              <a:t>, when the component first appears on the screen.</a:t>
            </a:r>
          </a:p>
          <a:p>
            <a:r>
              <a:rPr lang="en-US" dirty="0"/>
              <a:t>🟡 </a:t>
            </a:r>
            <a:r>
              <a:rPr lang="en-US" b="1" dirty="0"/>
              <a:t>Updates</a:t>
            </a:r>
            <a:r>
              <a:rPr lang="en-US" dirty="0"/>
              <a:t> -&gt; When you pass a state (or prop) inside the dependency array [ ], the code inside </a:t>
            </a:r>
            <a:r>
              <a:rPr lang="en-US" dirty="0" err="1"/>
              <a:t>useEffect</a:t>
            </a:r>
            <a:r>
              <a:rPr lang="en-US" dirty="0"/>
              <a:t> runs only when that value changes</a:t>
            </a:r>
          </a:p>
          <a:p>
            <a:r>
              <a:rPr lang="en-US" dirty="0"/>
              <a:t>🔴 </a:t>
            </a:r>
            <a:r>
              <a:rPr lang="en-US" b="1" dirty="0"/>
              <a:t>Unmounts</a:t>
            </a:r>
            <a:r>
              <a:rPr lang="en-US" dirty="0"/>
              <a:t> -&gt; When a component is removed from the screen , React will run the cleanup function you return from </a:t>
            </a:r>
            <a:r>
              <a:rPr lang="en-US" dirty="0" err="1"/>
              <a:t>useEff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789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754F25-0A3C-F1E5-BACE-207672697D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347A2F-8CCF-EF17-A4BF-4A66B7A85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946444-B837-BF04-A3E1-AE1B5D2434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9F0902-B9E8-896B-324C-BE222D37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HTML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EF40793-6AFD-D608-59F4-86BB92BEFAEA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543D0D9A-4522-C539-71B3-F2BED35D9868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693453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Forms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Block &amp; Inline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ables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Semantic elements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Attributes </a:t>
            </a:r>
          </a:p>
          <a:p>
            <a:pPr marL="0" indent="0">
              <a:buClr>
                <a:schemeClr val="bg1"/>
              </a:buClr>
              <a:buNone/>
            </a:pPr>
            <a:endParaRPr lang="en-US" sz="1800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sz="18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49662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26CC74-0F2C-7417-FED5-1FECF16B24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D0EB630-AA6C-B066-B106-3054B4B1A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D0EB630-AA6C-B066-B106-3054B4B1A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C8B24265-99B9-D9B2-53AB-78717D9E8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9FED42C-0499-DD1B-844A-06BEBDFFE5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60</a:t>
            </a:fld>
            <a:endParaRPr lang="en-US" dirty="0"/>
          </a:p>
        </p:txBody>
      </p:sp>
      <p:pic>
        <p:nvPicPr>
          <p:cNvPr id="15362" name="Picture 2" descr="useEffect React Hook | HelpEzee">
            <a:extLst>
              <a:ext uri="{FF2B5EF4-FFF2-40B4-BE49-F238E27FC236}">
                <a16:creationId xmlns:a16="http://schemas.microsoft.com/office/drawing/2014/main" id="{9DA08A23-558F-DF04-D777-E2B015A913CA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40" r="6684"/>
          <a:stretch>
            <a:fillRect/>
          </a:stretch>
        </p:blipFill>
        <p:spPr bwMode="auto">
          <a:xfrm>
            <a:off x="1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866686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EBC09-54F0-87BD-0276-0603B7F0B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0A2B256-8E12-8CDB-E644-38DAB1067F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0A2B256-8E12-8CDB-E644-38DAB1067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D0DA5DB-D71B-B872-0101-09A1CAB60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9DBA30C-FDCA-92BA-DF1B-53EB3B5E69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6C3E4B5-7FD4-DFA7-87EC-0F616F0AAAB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7402E1-1A7B-D494-08B6-A877DE07BC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"/>
            <a:ext cx="9144000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27251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101204-943C-59E1-7C9E-EA2387AF3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8C396D-8F26-0B37-218D-92A7936B1B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2AC5F50-5833-8F41-B4A6-32E1D1F911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2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5F07FC-34F6-648C-9E48-E4A4D2E69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8" y="179198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Conditional rendering (Hide/Show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084D19-684F-0E65-D4FB-BB66B7B1C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8159" y="1216749"/>
            <a:ext cx="4416361" cy="27115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B235C93-46F9-831E-5680-DC75116CD3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8" y="850605"/>
            <a:ext cx="3683189" cy="377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52446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89C58C-4138-90B9-89CE-1D0B07984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07EE0B3-D96A-ABB5-A6FD-EC2D534713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2F6EA5-B4F5-E5FB-D0FE-20F1AE64C5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6D9E02-7983-9359-9F4A-E7AFE24B5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Lists and Keys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22482DD-4BC6-8B33-A927-2B2C3F7746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8901" y="1009431"/>
            <a:ext cx="2153127" cy="3379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BE23333-AB4C-9839-AFE5-8692174C0C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108" y="1009430"/>
            <a:ext cx="3704892" cy="3379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17935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ADEE45-057C-AF43-9C90-15BD331603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10220B-BCBE-0A15-5481-D2252A0A2E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00915F9-F240-F9B5-160A-6581827844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799A19A-3DA5-85D4-B71C-3A6D402BA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648" y="103467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Forms in reac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42351A-3798-225C-53A1-82043A9C6A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0997" y="411244"/>
            <a:ext cx="2940496" cy="18437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ECF7D5B-8C76-11B0-6FF0-4AC04DF08A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0996" y="2255005"/>
            <a:ext cx="2940497" cy="2380791"/>
          </a:xfrm>
          <a:prstGeom prst="rect">
            <a:avLst/>
          </a:prstGeom>
        </p:spPr>
      </p:pic>
      <p:pic>
        <p:nvPicPr>
          <p:cNvPr id="18434" name="Picture 2" descr="Generated image">
            <a:extLst>
              <a:ext uri="{FF2B5EF4-FFF2-40B4-BE49-F238E27FC236}">
                <a16:creationId xmlns:a16="http://schemas.microsoft.com/office/drawing/2014/main" id="{B5CC2784-00F0-AA3D-516C-57CD695E0A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49" y="918765"/>
            <a:ext cx="3151664" cy="1769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8" name="Picture 6">
            <a:extLst>
              <a:ext uri="{FF2B5EF4-FFF2-40B4-BE49-F238E27FC236}">
                <a16:creationId xmlns:a16="http://schemas.microsoft.com/office/drawing/2014/main" id="{A70EEC79-34B4-DFB7-446B-363B6D2D86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48" y="2806996"/>
            <a:ext cx="3151664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30765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D06F48-47D4-865F-EB53-E6D1AA58F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Event Handler">
            <a:extLst>
              <a:ext uri="{FF2B5EF4-FFF2-40B4-BE49-F238E27FC236}">
                <a16:creationId xmlns:a16="http://schemas.microsoft.com/office/drawing/2014/main" id="{2E8642B9-9F35-1DF9-A489-6FB145B9FF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" b="15311"/>
          <a:stretch>
            <a:fillRect/>
          </a:stretch>
        </p:blipFill>
        <p:spPr bwMode="auto">
          <a:xfrm>
            <a:off x="20" y="10"/>
            <a:ext cx="9143980" cy="4357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5EFD9D-CF12-4918-45DF-24DD5B752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kern="1200" cap="all" baseline="0"/>
              <a:t>Event handl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AD53CF-6D51-3572-40F9-0B21B19FBE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5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8D22267-20E9-CDE2-BF46-27C8CF0D0ED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</p:spTree>
    <p:extLst>
      <p:ext uri="{BB962C8B-B14F-4D97-AF65-F5344CB8AC3E}">
        <p14:creationId xmlns:p14="http://schemas.microsoft.com/office/powerpoint/2010/main" val="141594506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51253-73E8-3AA4-72FD-4EFEE6C30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E892FA4-D41A-A2D8-10A5-B9CD629BA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E892FA4-D41A-A2D8-10A5-B9CD629BA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B8483149-C840-07AA-4D6C-CA1EBCA57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F1B1AA8-6368-1587-CAC2-6DDEA6448A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66</a:t>
            </a:fld>
            <a:endParaRPr lang="en-US" dirty="0"/>
          </a:p>
        </p:txBody>
      </p:sp>
      <p:pic>
        <p:nvPicPr>
          <p:cNvPr id="10250" name="Picture 10" descr="Event Handling in React – Complete Guide with Examples">
            <a:extLst>
              <a:ext uri="{FF2B5EF4-FFF2-40B4-BE49-F238E27FC236}">
                <a16:creationId xmlns:a16="http://schemas.microsoft.com/office/drawing/2014/main" id="{8E0C881F-0540-B00C-491B-28DCC816C5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288133"/>
            <a:ext cx="5377193" cy="4638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DAE1D874-96D5-9DE4-9259-A5C02E8BAD48}"/>
              </a:ext>
            </a:extLst>
          </p:cNvPr>
          <p:cNvSpPr txBox="1">
            <a:spLocks/>
          </p:cNvSpPr>
          <p:nvPr/>
        </p:nvSpPr>
        <p:spPr>
          <a:xfrm>
            <a:off x="6124887" y="1558457"/>
            <a:ext cx="2719075" cy="213094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 React, events use camelCase names like </a:t>
            </a:r>
            <a:r>
              <a:rPr lang="en-US" b="1" dirty="0" err="1"/>
              <a:t>onClick</a:t>
            </a:r>
            <a:r>
              <a:rPr lang="en-US" b="1" dirty="0"/>
              <a:t>, </a:t>
            </a:r>
            <a:r>
              <a:rPr lang="en-US" b="1" dirty="0" err="1"/>
              <a:t>onChange</a:t>
            </a:r>
            <a:r>
              <a:rPr lang="en-US" b="1" dirty="0"/>
              <a:t>, </a:t>
            </a:r>
            <a:r>
              <a:rPr lang="en-US" b="1" dirty="0" err="1"/>
              <a:t>onSubmit</a:t>
            </a:r>
            <a:r>
              <a:rPr lang="en-US" b="1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You give the event a function → React will run that function when the event happens.</a:t>
            </a:r>
          </a:p>
        </p:txBody>
      </p:sp>
    </p:spTree>
    <p:extLst>
      <p:ext uri="{BB962C8B-B14F-4D97-AF65-F5344CB8AC3E}">
        <p14:creationId xmlns:p14="http://schemas.microsoft.com/office/powerpoint/2010/main" val="246454345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B2ACF-184B-659D-B671-3606144757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7CFFDC0-D899-997F-E1A5-DAA69933AF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7CFFDC0-D899-997F-E1A5-DAA69933A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87DDF2A-593C-5B48-277B-7DBAAD387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343" y="1909375"/>
            <a:ext cx="3914738" cy="1154162"/>
          </a:xfrm>
        </p:spPr>
        <p:txBody>
          <a:bodyPr vert="horz"/>
          <a:lstStyle/>
          <a:p>
            <a:r>
              <a:rPr lang="en-US" cap="none" dirty="0">
                <a:latin typeface="+mn-lt"/>
              </a:rPr>
              <a:t>WHAT IS AN API?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3A9D706-5BEC-CAFD-1103-FDE0A886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1AE966-D7FE-4748-598F-CFADBFC7BF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67</a:t>
            </a:fld>
            <a:endParaRPr lang="en-US" noProof="0" dirty="0"/>
          </a:p>
        </p:txBody>
      </p:sp>
      <p:pic>
        <p:nvPicPr>
          <p:cNvPr id="10" name="Bildplatzhalter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C888E7B-3A11-158E-4EDC-80F0632B254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46613" y="0"/>
            <a:ext cx="2744787" cy="5145088"/>
          </a:xfrm>
        </p:spPr>
      </p:pic>
    </p:spTree>
    <p:extLst>
      <p:ext uri="{BB962C8B-B14F-4D97-AF65-F5344CB8AC3E}">
        <p14:creationId xmlns:p14="http://schemas.microsoft.com/office/powerpoint/2010/main" val="402124187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C00C9-D27D-1183-C6E6-E5EF0D085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78943F-56D1-6292-2450-880171D0F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kern="1200" cap="all" baseline="0"/>
              <a:t>Event handl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4DF61F1-49C9-201C-24D2-236497777C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8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0416C19-6403-07B4-6A6C-78A64619BCD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pic>
        <p:nvPicPr>
          <p:cNvPr id="20482" name="Picture 2" descr="What is an API (Application Programming Interface) - GeeksforGeeks">
            <a:extLst>
              <a:ext uri="{FF2B5EF4-FFF2-40B4-BE49-F238E27FC236}">
                <a16:creationId xmlns:a16="http://schemas.microsoft.com/office/drawing/2014/main" id="{F16C17CD-CF97-8BDD-C26A-4E45403C3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23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933851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EA8F92-47C8-00B1-A24F-E70E360B0E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A22306-BC1D-8770-63B7-FA5C42E2E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3915619" cy="153888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kern="1200" cap="all" baseline="0" dirty="0"/>
              <a:t>JS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44B13F4-32E6-9499-29E0-A544A31790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B7BC00-438A-8EF0-E822-C8E6A739C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9</a:t>
            </a:fld>
            <a:endParaRPr lang="en-US"/>
          </a:p>
        </p:txBody>
      </p:sp>
      <p:pic>
        <p:nvPicPr>
          <p:cNvPr id="21508" name="Picture 4" descr="Generated image">
            <a:extLst>
              <a:ext uri="{FF2B5EF4-FFF2-40B4-BE49-F238E27FC236}">
                <a16:creationId xmlns:a16="http://schemas.microsoft.com/office/drawing/2014/main" id="{1435AC2C-90B6-BDD5-5791-8F53BA6166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46613" y="516524"/>
            <a:ext cx="2744787" cy="411204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FC98494-C660-F321-2771-ECF5B2D2BDFF}"/>
              </a:ext>
            </a:extLst>
          </p:cNvPr>
          <p:cNvSpPr txBox="1"/>
          <p:nvPr/>
        </p:nvSpPr>
        <p:spPr>
          <a:xfrm>
            <a:off x="202019" y="957621"/>
            <a:ext cx="45720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Looks like text → Easy for humans to read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Has keys and values → like “name”: “Rahul”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Language-independent → not just for JavaScript; almost every programming language can use JSO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Mostly used in APIs → Apps send and receive data in JSON.</a:t>
            </a:r>
          </a:p>
        </p:txBody>
      </p:sp>
    </p:spTree>
    <p:extLst>
      <p:ext uri="{BB962C8B-B14F-4D97-AF65-F5344CB8AC3E}">
        <p14:creationId xmlns:p14="http://schemas.microsoft.com/office/powerpoint/2010/main" val="21248065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1E8077-5992-8160-85F4-6D3BF2986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3F5D1A-4987-7946-B8D4-C2380BC6D7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67FE4D-E010-1766-A4FE-FDD0ACAED9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E2C8FC2-B916-3C7A-FEAF-BC9893F7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0" y="455611"/>
            <a:ext cx="254548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Table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BAD300D-3760-D924-D7E2-CC0D23D019EC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E226694-50CC-7BCA-36F4-9EEF9AFD9E67}"/>
              </a:ext>
            </a:extLst>
          </p:cNvPr>
          <p:cNvSpPr txBox="1">
            <a:spLocks/>
          </p:cNvSpPr>
          <p:nvPr/>
        </p:nvSpPr>
        <p:spPr>
          <a:xfrm>
            <a:off x="4572000" y="1339635"/>
            <a:ext cx="3395414" cy="533466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 A table in HTML consists of table cells inside rows and columns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27F155-26FC-06F4-816A-6453E12338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820" y="2141573"/>
            <a:ext cx="3149762" cy="1378021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1E6A09BB-A325-A0E2-2F6C-BF526741A270}"/>
              </a:ext>
            </a:extLst>
          </p:cNvPr>
          <p:cNvSpPr txBox="1">
            <a:spLocks/>
          </p:cNvSpPr>
          <p:nvPr/>
        </p:nvSpPr>
        <p:spPr bwMode="gray">
          <a:xfrm>
            <a:off x="454820" y="455612"/>
            <a:ext cx="2545482" cy="61555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orms 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BF8A8EA-9CC1-C5EE-6A74-73F1C68B15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0630" y="2141573"/>
            <a:ext cx="2692538" cy="2482978"/>
          </a:xfrm>
          <a:prstGeom prst="rect">
            <a:avLst/>
          </a:prstGeom>
        </p:spPr>
      </p:pic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B5D7A453-77E2-F9B5-CED8-18CF58F68A1B}"/>
              </a:ext>
            </a:extLst>
          </p:cNvPr>
          <p:cNvSpPr txBox="1">
            <a:spLocks/>
          </p:cNvSpPr>
          <p:nvPr/>
        </p:nvSpPr>
        <p:spPr>
          <a:xfrm>
            <a:off x="374899" y="1367555"/>
            <a:ext cx="3395414" cy="32030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Collects user input.</a:t>
            </a:r>
            <a:r>
              <a:rPr lang="en-US" dirty="0"/>
              <a:t> </a:t>
            </a: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44184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34B883-DF4B-EC54-E7CF-99ACF7F4F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834D62-9498-1FC3-2B3B-A65F0BDA31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9D946C-22D6-A177-9662-7FED3676F3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70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38AB976-33FF-6825-1937-AB7014E86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Json example</a:t>
            </a:r>
            <a:endParaRPr lang="en-US" kern="1200" cap="all" baseline="0" dirty="0"/>
          </a:p>
        </p:txBody>
      </p:sp>
      <p:pic>
        <p:nvPicPr>
          <p:cNvPr id="22530" name="Picture 2" descr="Read/write JSON Files with Node.js - Naukri Code 360">
            <a:extLst>
              <a:ext uri="{FF2B5EF4-FFF2-40B4-BE49-F238E27FC236}">
                <a16:creationId xmlns:a16="http://schemas.microsoft.com/office/drawing/2014/main" id="{6E35ED6A-FD73-3E1C-AC46-303433EAB2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36" b="-2"/>
          <a:stretch>
            <a:fillRect/>
          </a:stretch>
        </p:blipFill>
        <p:spPr bwMode="auto">
          <a:xfrm>
            <a:off x="366216" y="1024204"/>
            <a:ext cx="7622380" cy="338476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36336004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C2FD1-049D-7E8F-DAA2-A19C0D363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97227A5-4316-2699-54D9-B407CFF69C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692CC2-C43F-0419-06B1-823A1AED2E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71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D3B08E-B2D4-3BBB-0FC3-EB06F94CB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kern="1200" cap="all" baseline="0" dirty="0"/>
              <a:t>Using fetch with async/awai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E766BC-1FF1-C819-8554-AD02CFE5F4F6}"/>
              </a:ext>
            </a:extLst>
          </p:cNvPr>
          <p:cNvSpPr txBox="1"/>
          <p:nvPr/>
        </p:nvSpPr>
        <p:spPr bwMode="gray">
          <a:xfrm>
            <a:off x="4984173" y="1156262"/>
            <a:ext cx="3832529" cy="2635799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</a:rPr>
              <a:t>fetch() </a:t>
            </a:r>
            <a:r>
              <a:rPr lang="en-US" sz="1200" dirty="0">
                <a:solidFill>
                  <a:schemeClr val="bg1"/>
                </a:solidFill>
              </a:rPr>
              <a:t>is a built-in JavaScript function, so no extra library is requir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Example: fetching a list of posts from a fake API </a:t>
            </a:r>
            <a:r>
              <a:rPr lang="en-US" sz="12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jsonplaceholder.typicode.com/posts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BA06F6-476B-C6D4-8FF3-609DFA211D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298" y="1156262"/>
            <a:ext cx="4435533" cy="3171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56233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50C15B-1CE9-FB5F-5694-176C6B752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15D76E-61ED-958A-08D4-B7207FA899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AA6E92-D8DC-68ED-6E1E-B5FE7EFECE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72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12C30F4-5037-63B4-E734-BFDF35233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kern="1200" cap="all" baseline="0" dirty="0"/>
              <a:t>Using fetch with .</a:t>
            </a:r>
            <a:r>
              <a:rPr lang="en-US" kern="1200" cap="none" baseline="0" dirty="0"/>
              <a:t>then()</a:t>
            </a:r>
            <a:endParaRPr lang="en-US" kern="1200" cap="all" baseline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C6BE603-7177-775B-2362-DD09657A84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708" y="1356009"/>
            <a:ext cx="6903479" cy="2559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85945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9BAAA-EE63-9F45-EDCA-46DED056C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284FF4F-ADFB-50CF-785E-D610E9500A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DB4681-EAF2-E837-3681-E9960B1937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7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FBDC41-4D90-311E-337D-0E8C93EEC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Handle loading &amp; Errors</a:t>
            </a:r>
            <a:endParaRPr lang="en-US" kern="1200" cap="all" baseline="0" dirty="0"/>
          </a:p>
        </p:txBody>
      </p:sp>
      <p:pic>
        <p:nvPicPr>
          <p:cNvPr id="7" name="Picture 6" descr="A screen shot of a computer code&#10;&#10;AI-generated content may be incorrect.">
            <a:extLst>
              <a:ext uri="{FF2B5EF4-FFF2-40B4-BE49-F238E27FC236}">
                <a16:creationId xmlns:a16="http://schemas.microsoft.com/office/drawing/2014/main" id="{C0C41232-819C-2670-B147-92093D40385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704" b="4"/>
          <a:stretch>
            <a:fillRect/>
          </a:stretch>
        </p:blipFill>
        <p:spPr>
          <a:xfrm>
            <a:off x="302420" y="1109265"/>
            <a:ext cx="4158262" cy="3265416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5887A9B-5C52-AEDF-224F-CEBC5DC2D4C7}"/>
              </a:ext>
            </a:extLst>
          </p:cNvPr>
          <p:cNvSpPr txBox="1"/>
          <p:nvPr/>
        </p:nvSpPr>
        <p:spPr bwMode="gray">
          <a:xfrm>
            <a:off x="4754880" y="1424073"/>
            <a:ext cx="3840480" cy="2635799"/>
          </a:xfrm>
          <a:prstGeom prst="rect">
            <a:avLst/>
          </a:prstGeom>
        </p:spPr>
        <p:txBody>
          <a:bodyPr anchor="t">
            <a:normAutofit lnSpcReduction="10000"/>
          </a:bodyPr>
          <a:lstStyle/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</a:rPr>
              <a:t>Why do we use a loader?</a:t>
            </a:r>
            <a:endParaRPr lang="en-US" sz="1200" b="1" kern="1200" dirty="0">
              <a:solidFill>
                <a:schemeClr val="bg1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magine you order food in a restaurant 🍔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While waiting, the waiter says: </a:t>
            </a:r>
            <a:r>
              <a:rPr lang="en-US" sz="1200" i="1" dirty="0">
                <a:solidFill>
                  <a:schemeClr val="bg1"/>
                </a:solidFill>
              </a:rPr>
              <a:t>“Please wait, your food is being prepared.”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i="1" kern="1200" dirty="0">
              <a:solidFill>
                <a:schemeClr val="bg1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b="1" i="1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</a:rPr>
              <a:t>What is error handling in React?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bg1"/>
                </a:solidFill>
              </a:rPr>
              <a:t>Error </a:t>
            </a:r>
            <a:r>
              <a:rPr lang="en-US" sz="1200" dirty="0">
                <a:solidFill>
                  <a:schemeClr val="bg1"/>
                </a:solidFill>
              </a:rPr>
              <a:t>handling catches mistakes, stops the app from crashing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t tells the user what went wrong instead of leaving them confused.</a:t>
            </a:r>
            <a:endParaRPr lang="en-US" sz="1200" kern="12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endParaRPr lang="en-US" sz="1200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48231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606DD7-BBB2-0161-84D5-65F3440EC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6EC51D-028E-CDE3-ECF8-318AAA5279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9A14D5A-DB63-4079-E6A7-9BE4105281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7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A29D47A-3B3C-72B2-B504-522619A39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it-IT" dirty="0"/>
              <a:t>Rendering API data in UI</a:t>
            </a:r>
            <a:endParaRPr lang="en-US" kern="1200" cap="all" baseline="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E793047-2F56-43D5-85D3-7F5FB1F5A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2391" y="106705"/>
            <a:ext cx="3003112" cy="4587903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8ACBDF0-5261-117A-E529-953D0B55F6CD}"/>
              </a:ext>
            </a:extLst>
          </p:cNvPr>
          <p:cNvSpPr/>
          <p:nvPr/>
        </p:nvSpPr>
        <p:spPr>
          <a:xfrm>
            <a:off x="1081048" y="1310572"/>
            <a:ext cx="2820562" cy="2417494"/>
          </a:xfrm>
          <a:prstGeom prst="roundRect">
            <a:avLst>
              <a:gd name="adj" fmla="val 74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r>
              <a:rPr lang="en-US" sz="2000" b="1" dirty="0">
                <a:solidFill>
                  <a:schemeClr val="tx1"/>
                </a:solidFill>
              </a:rPr>
              <a:t>      </a:t>
            </a:r>
            <a:r>
              <a:rPr lang="en-US" sz="2000" b="1" dirty="0">
                <a:solidFill>
                  <a:srgbClr val="7030A0"/>
                </a:solidFill>
              </a:rPr>
              <a:t>Posts</a:t>
            </a:r>
          </a:p>
          <a:p>
            <a:endParaRPr lang="en-US" sz="2000" b="1" dirty="0">
              <a:solidFill>
                <a:schemeClr val="tx1"/>
              </a:solidFill>
            </a:endParaRPr>
          </a:p>
          <a:p>
            <a:pPr marL="457200" indent="-457200">
              <a:buFontTx/>
              <a:buAutoNum type="arabicPeriod"/>
            </a:pP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</a:rPr>
              <a:t>Hindi</a:t>
            </a:r>
          </a:p>
          <a:p>
            <a:pPr marL="457200" indent="-457200">
              <a:buAutoNum type="arabicPeriod"/>
            </a:pPr>
            <a:r>
              <a:rPr lang="en-US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nglish</a:t>
            </a:r>
          </a:p>
          <a:p>
            <a:pPr marL="457200" indent="-457200">
              <a:buAutoNum type="arabicPeriod"/>
            </a:pPr>
            <a:r>
              <a:rPr lang="en-US" sz="1600" b="1" dirty="0">
                <a:solidFill>
                  <a:srgbClr val="00B050"/>
                </a:solidFill>
              </a:rPr>
              <a:t>Math</a:t>
            </a:r>
          </a:p>
          <a:p>
            <a:pPr marL="457200" indent="-457200">
              <a:buAutoNum type="arabicPeriod"/>
            </a:pPr>
            <a:r>
              <a:rPr lang="en-US" sz="1600" b="1" dirty="0">
                <a:solidFill>
                  <a:srgbClr val="00B0F0"/>
                </a:solidFill>
              </a:rPr>
              <a:t>Science</a:t>
            </a:r>
          </a:p>
          <a:p>
            <a:pPr marL="457200" indent="-457200">
              <a:buAutoNum type="arabicPeriod"/>
            </a:pPr>
            <a:r>
              <a:rPr lang="en-US" sz="1600" b="1" dirty="0">
                <a:solidFill>
                  <a:srgbClr val="002060"/>
                </a:solidFill>
              </a:rPr>
              <a:t>Social</a:t>
            </a:r>
          </a:p>
        </p:txBody>
      </p:sp>
    </p:spTree>
    <p:extLst>
      <p:ext uri="{BB962C8B-B14F-4D97-AF65-F5344CB8AC3E}">
        <p14:creationId xmlns:p14="http://schemas.microsoft.com/office/powerpoint/2010/main" val="310068412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2C4B4F-2DDE-F3AD-F9D0-9D317E2B55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17F1EB7-7953-7480-6A29-AB63D80A0D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17F1EB7-7953-7480-6A29-AB63D80A0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E52D6088-3FBC-0DC1-DDF9-C5B13A7AF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Introduction to react Rou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AAA102-AA20-F1D3-F950-40B708E9D9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2A9B1B3-4FB5-D8D7-2A68-79FE542580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5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6EA082C-3335-7A81-A1B2-E4762C5EA6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5"/>
            <a:ext cx="7091362" cy="731938"/>
          </a:xfrm>
        </p:spPr>
        <p:txBody>
          <a:bodyPr/>
          <a:lstStyle/>
          <a:p>
            <a:r>
              <a:rPr lang="en-US" dirty="0"/>
              <a:t>React Router helps us </a:t>
            </a:r>
            <a:r>
              <a:rPr lang="en-US" b="1" dirty="0"/>
              <a:t>create multiple pages</a:t>
            </a:r>
            <a:r>
              <a:rPr lang="en-US" dirty="0"/>
              <a:t> inside a React app without reloading the whole website.</a:t>
            </a:r>
          </a:p>
          <a:p>
            <a:r>
              <a:rPr lang="en-US" dirty="0"/>
              <a:t>It’s what makes </a:t>
            </a:r>
            <a:r>
              <a:rPr lang="en-US" b="1" dirty="0"/>
              <a:t>Single Page Applications (SPA)</a:t>
            </a:r>
            <a:r>
              <a:rPr lang="en-US" dirty="0"/>
              <a:t> feel like they have multiple pages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7D4A34-7D94-721A-187D-2F96C8E82F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4325" y="2161582"/>
            <a:ext cx="2997354" cy="120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78376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BB8157-BC2E-BDA9-CC0A-28C1FC963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45552F-ED22-01F0-71A9-4BE4E363DE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201292-993E-F244-3343-7C743A43FE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7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C2CAFA-0998-ED48-B467-FAE3AFC4FD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CREATING MULTIPLE pages</a:t>
            </a:r>
            <a:endParaRPr lang="en-US" kern="1200" cap="all" baseline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F657B8-07A5-D205-A647-2CFFC46F49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404" y="1032179"/>
            <a:ext cx="2702007" cy="3378863"/>
          </a:xfrm>
          <a:prstGeom prst="rect">
            <a:avLst/>
          </a:prstGeom>
        </p:spPr>
      </p:pic>
      <p:pic>
        <p:nvPicPr>
          <p:cNvPr id="6" name="Picture 2" descr="Understanding React Router with a Simple Blog Application">
            <a:extLst>
              <a:ext uri="{FF2B5EF4-FFF2-40B4-BE49-F238E27FC236}">
                <a16:creationId xmlns:a16="http://schemas.microsoft.com/office/drawing/2014/main" id="{0C132E9F-0E93-2437-DEF9-B9B41FBE1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51188" y="1307654"/>
            <a:ext cx="4497387" cy="2529780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26275235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67DFBD-F824-2E01-6AE5-8CEDE96F7A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ABDC8F-827B-6EF5-AE26-093394A31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C8A0D47-0B6D-62D5-C6FC-7720665B94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77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12A7DF6-689E-CC64-68FC-F89834E1F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kern="1200" cap="all" baseline="0" dirty="0"/>
              <a:t>Navigation between compone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08D5E6-CF54-DB54-CC08-3B04F1476351}"/>
              </a:ext>
            </a:extLst>
          </p:cNvPr>
          <p:cNvSpPr txBox="1"/>
          <p:nvPr/>
        </p:nvSpPr>
        <p:spPr>
          <a:xfrm>
            <a:off x="300038" y="1703211"/>
            <a:ext cx="371906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When you click Home → it loads &lt;Home /&gt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When you click About → it loads &lt;About /&gt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When you click Contact → it loads &lt;Contact /&gt;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14A6C7-BB51-0675-65EA-7D54C5733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4509" y="918765"/>
            <a:ext cx="3534771" cy="400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8534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6491F8-9D9D-29E0-D9E4-F4448EF0BB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D98330E-F0FA-B64C-B6CA-A8FAA6597E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D98330E-F0FA-B64C-B6CA-A8FAA6597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AAD1A6E-E19F-868E-2E7B-2F871CF0A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343" y="1748050"/>
            <a:ext cx="3914738" cy="1648988"/>
          </a:xfrm>
        </p:spPr>
        <p:txBody>
          <a:bodyPr vert="horz"/>
          <a:lstStyle/>
          <a:p>
            <a:r>
              <a:rPr lang="en-US" dirty="0"/>
              <a:t>🚀 Preparing React App for Production</a:t>
            </a:r>
            <a:endParaRPr lang="en-US" cap="none" dirty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DCED23-2B18-1094-55ED-01CB11E3B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436540F-1FAF-07FF-2585-4376B80E02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8</a:t>
            </a:fld>
            <a:endParaRPr lang="en-US" noProof="0" dirty="0"/>
          </a:p>
        </p:txBody>
      </p:sp>
      <p:pic>
        <p:nvPicPr>
          <p:cNvPr id="10" name="Bildplatzhalter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C2FDC9AD-6E39-F3F2-C961-3F137D5A87F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46613" y="0"/>
            <a:ext cx="2744787" cy="5145088"/>
          </a:xfrm>
        </p:spPr>
      </p:pic>
    </p:spTree>
    <p:extLst>
      <p:ext uri="{BB962C8B-B14F-4D97-AF65-F5344CB8AC3E}">
        <p14:creationId xmlns:p14="http://schemas.microsoft.com/office/powerpoint/2010/main" val="54472331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7D63D0-11E0-15CE-9C30-13C167195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B486BFA-0C2D-F91A-28D9-5C9DBEF9EE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B486BFA-0C2D-F91A-28D9-5C9DBEF9E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D7323112-CE58-04E6-5877-FDA525ADD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How to build A projec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345973-3948-1BB5-D481-EFBC81207A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B479B27-726C-C616-B277-BFC8B53778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9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63D29-6C8A-BCD8-3577-0F401E027C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5"/>
            <a:ext cx="7091362" cy="731938"/>
          </a:xfrm>
        </p:spPr>
        <p:txBody>
          <a:bodyPr/>
          <a:lstStyle/>
          <a:p>
            <a:r>
              <a:rPr lang="en-US" dirty="0"/>
              <a:t>Once the development is finished, then build the application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This creates a </a:t>
            </a:r>
            <a:r>
              <a:rPr lang="en-US" b="1" dirty="0" err="1"/>
              <a:t>dist</a:t>
            </a:r>
            <a:r>
              <a:rPr lang="en-US" dirty="0"/>
              <a:t> (Vite) folder with optimized files ready for hosting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B09856-7FCA-4DE3-CED7-3C4A21B2A3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4933" y="1532634"/>
            <a:ext cx="2330570" cy="116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529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D1613-34E5-940B-3127-D499847F4B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9CD069F-61E8-5A9C-A91E-F2FC59D03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519E6A-18D8-50E9-B91E-54CB8A7E96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6D479D-8D13-D01B-2776-2D2CDAAFB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0" y="295068"/>
            <a:ext cx="2980525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Semantic Elemen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0C7B7AA-F15D-CD74-4E89-DF21614BA433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8AC777B-EA20-A016-673E-24EC1388C323}"/>
              </a:ext>
            </a:extLst>
          </p:cNvPr>
          <p:cNvSpPr txBox="1">
            <a:spLocks/>
          </p:cNvSpPr>
          <p:nvPr/>
        </p:nvSpPr>
        <p:spPr>
          <a:xfrm>
            <a:off x="454820" y="3609243"/>
            <a:ext cx="3395414" cy="335602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Provide extra information about elements.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24F95273-B9DB-286A-BE8D-781FCF2C815F}"/>
              </a:ext>
            </a:extLst>
          </p:cNvPr>
          <p:cNvSpPr txBox="1">
            <a:spLocks/>
          </p:cNvSpPr>
          <p:nvPr/>
        </p:nvSpPr>
        <p:spPr bwMode="gray">
          <a:xfrm>
            <a:off x="454820" y="455612"/>
            <a:ext cx="3315493" cy="61555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lock and Inline Elements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4AF8C356-8C99-C95C-DD49-4206B319EB17}"/>
              </a:ext>
            </a:extLst>
          </p:cNvPr>
          <p:cNvSpPr txBox="1">
            <a:spLocks/>
          </p:cNvSpPr>
          <p:nvPr/>
        </p:nvSpPr>
        <p:spPr>
          <a:xfrm>
            <a:off x="374898" y="1367555"/>
            <a:ext cx="3834133" cy="882695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Block → starts on a new line (&lt;div&gt;, &lt;p&gt;, &lt;h1&gt;)</a:t>
            </a:r>
          </a:p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Inline → does not start on a new line (&lt;span&gt;, &lt;a&gt;, &lt;strong&gt;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DE681D-C936-7869-C71C-24EF1A334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161" y="2327892"/>
            <a:ext cx="2311519" cy="61598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44B44F0-05D7-FC48-C68E-323B39F305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0709" y="1873101"/>
            <a:ext cx="2521080" cy="88269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6583825B-7FD6-2609-98DF-3E4DA1D0B929}"/>
              </a:ext>
            </a:extLst>
          </p:cNvPr>
          <p:cNvSpPr txBox="1">
            <a:spLocks/>
          </p:cNvSpPr>
          <p:nvPr/>
        </p:nvSpPr>
        <p:spPr bwMode="gray">
          <a:xfrm>
            <a:off x="536161" y="3021516"/>
            <a:ext cx="3663470" cy="61555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ttributes 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51C6F986-8997-196E-20ED-50BB51FB7166}"/>
              </a:ext>
            </a:extLst>
          </p:cNvPr>
          <p:cNvSpPr txBox="1">
            <a:spLocks/>
          </p:cNvSpPr>
          <p:nvPr/>
        </p:nvSpPr>
        <p:spPr>
          <a:xfrm>
            <a:off x="4572000" y="1367555"/>
            <a:ext cx="3395414" cy="335602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 Gives meaning to the structure of a page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7A8E023-1672-8FFB-92B2-4D56A4614F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162" y="4024010"/>
            <a:ext cx="3663470" cy="45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3356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EFFEC-0B95-4553-DA3B-79B1C8ABC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3C44F5E-9485-32EF-7861-90F03D1E8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3C44F5E-9485-32EF-7861-90F03D1E8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69EB3442-18D9-E6CF-83B3-23B66F9D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Git &amp; GitHub Basic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90FFE4-513F-BC6B-94D5-0D05DD6611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8CA15CF-D48B-40E8-AD8A-CEDECC907B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80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3F002FC-06A7-46A4-ED95-9C209CF252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5"/>
            <a:ext cx="7091362" cy="731938"/>
          </a:xfrm>
        </p:spPr>
        <p:txBody>
          <a:bodyPr/>
          <a:lstStyle/>
          <a:p>
            <a:r>
              <a:rPr lang="en-US" dirty="0"/>
              <a:t>Git helps us </a:t>
            </a:r>
            <a:r>
              <a:rPr lang="en-US" b="1" dirty="0"/>
              <a:t>track changes</a:t>
            </a:r>
            <a:r>
              <a:rPr lang="en-US" dirty="0"/>
              <a:t> in code, and GitHub stores it onlin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46E5DF-116F-F3CC-D365-9FA4805AE4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343" y="1716057"/>
            <a:ext cx="4229317" cy="1530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26623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682FAB-0EC7-8D12-A3CA-6B7054B3F9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05BA75-E8E0-6B38-74F4-CBF290B68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05BA75-E8E0-6B38-74F4-CBF290B68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B32F0865-6921-D0CD-7BF5-CC2FC256A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Deploy on Netlify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20EC38F-FE7E-3734-CCAE-B03C195505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6A8F751-C078-88F3-970D-E4E1691DF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81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CED5FAE-16E4-9A3B-17D5-F6119D9D0F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4"/>
            <a:ext cx="7012780" cy="3384071"/>
          </a:xfrm>
        </p:spPr>
        <p:txBody>
          <a:bodyPr/>
          <a:lstStyle/>
          <a:p>
            <a:r>
              <a:rPr lang="en-US" dirty="0"/>
              <a:t>Go to https://netlify.com</a:t>
            </a:r>
          </a:p>
          <a:p>
            <a:r>
              <a:rPr lang="en-US" dirty="0"/>
              <a:t>Login (students can use GitHub account).</a:t>
            </a:r>
          </a:p>
          <a:p>
            <a:r>
              <a:rPr lang="en-US" dirty="0"/>
              <a:t>On Netlify dashboard → click "Add new site" → "Deploy manually“</a:t>
            </a:r>
          </a:p>
          <a:p>
            <a:r>
              <a:rPr lang="en-US" dirty="0"/>
              <a:t>Drag and drop your </a:t>
            </a:r>
            <a:r>
              <a:rPr lang="en-US" b="1" dirty="0" err="1"/>
              <a:t>dist</a:t>
            </a:r>
            <a:r>
              <a:rPr lang="en-US" dirty="0"/>
              <a:t> folder (Vite) into the upload area</a:t>
            </a:r>
          </a:p>
          <a:p>
            <a:r>
              <a:rPr lang="en-US" dirty="0"/>
              <a:t>Netlify will host your app instantly. You’ll get a free live URL like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6C66DB-DEB6-2B54-59E6-D03CAA54C3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482" y="3250722"/>
            <a:ext cx="2863997" cy="44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28294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610405C-F863-46AF-BD68-1AAFB283A9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610405C-F863-46AF-BD68-1AAFB283A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00EADB7-0EC7-4DF5-87D8-E1F4B8D55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3919060" cy="512961"/>
          </a:xfrm>
        </p:spPr>
        <p:txBody>
          <a:bodyPr vert="horz"/>
          <a:lstStyle/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C7DAEA0-5F99-491B-88F0-E51AE5A455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61359E4-ACA6-4199-B351-FA44010F46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/>
          <a:lstStyle/>
          <a:p>
            <a:fld id="{54413C03-D129-4B04-B289-283874789DC0}" type="slidenum">
              <a:rPr lang="en-US" smtClean="0"/>
              <a:pPr/>
              <a:t>82</a:t>
            </a:fld>
            <a:endParaRPr lang="en-US" dirty="0"/>
          </a:p>
        </p:txBody>
      </p:sp>
      <p:pic>
        <p:nvPicPr>
          <p:cNvPr id="10" name="Bildplatzhalter 9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46D11A94-D46F-4FDB-B7C7-7AC26293E09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5088"/>
          </a:xfrm>
        </p:spPr>
      </p:pic>
    </p:spTree>
    <p:extLst>
      <p:ext uri="{BB962C8B-B14F-4D97-AF65-F5344CB8AC3E}">
        <p14:creationId xmlns:p14="http://schemas.microsoft.com/office/powerpoint/2010/main" val="37646702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AFA528-DCB5-116E-D676-0240442311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B1CCE5F-A521-296B-24CC-030BD5D5EC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B1CCE5F-A521-296B-24CC-030BD5D5E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3253DD4-4571-8FC2-441E-740C051225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080" y="2376774"/>
            <a:ext cx="8061840" cy="391539"/>
          </a:xfrm>
        </p:spPr>
        <p:txBody>
          <a:bodyPr/>
          <a:lstStyle/>
          <a:p>
            <a:pPr algn="ctr"/>
            <a:r>
              <a:rPr lang="en-US" sz="2000" b="1" cap="none" dirty="0"/>
              <a:t>For more, please refer</a:t>
            </a:r>
            <a:r>
              <a:rPr lang="en-US" sz="2000" b="1" dirty="0"/>
              <a:t>: </a:t>
            </a:r>
            <a:r>
              <a:rPr lang="en-US" sz="2000" cap="none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3schools.com/html/default.asp</a:t>
            </a:r>
            <a:r>
              <a:rPr lang="en-US" sz="2000" cap="none" dirty="0"/>
              <a:t> </a:t>
            </a:r>
            <a:endParaRPr lang="en-US" sz="20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8796-7B95-40F8-C582-2454E84ACB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578DBE1-C4BC-16B5-158A-7996E82438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9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82697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aff958d4-5f71-4e90-bfe1-a52ab6a9a6c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nkel_Master_EN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 Henkel 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80000" tIns="144000" rIns="180000" bIns="144000" rtlCol="0" anchor="t"/>
      <a:lstStyle>
        <a:defPPr algn="l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noAutofit/>
      </a:bodyPr>
      <a:lstStyle>
        <a:defPPr marL="162000" indent="-162000" algn="l" defTabSz="685800">
          <a:lnSpc>
            <a:spcPct val="114000"/>
          </a:lnSpc>
          <a:spcAft>
            <a:spcPts val="1200"/>
          </a:spcAft>
          <a:buClr>
            <a:schemeClr val="accent1"/>
          </a:buClr>
          <a:buSzPct val="100000"/>
          <a:buFont typeface="Wingdings" panose="05000000000000000000" pitchFamily="2" charset="2"/>
          <a:buChar char="§"/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Henkel PPT Template.pptx" id="{53EEE8EB-EB05-4128-A489-5074B0BCE927}" vid="{042B78F7-4D3D-495E-A87C-6229CE44AAFA}"/>
    </a:ext>
  </a:extLst>
</a:theme>
</file>

<file path=ppt/theme/theme2.xml><?xml version="1.0" encoding="utf-8"?>
<a:theme xmlns:a="http://schemas.openxmlformats.org/drawingml/2006/main" name="Office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_Henkel">
      <a:majorFont>
        <a:latin typeface="GT Flexa Rg"/>
        <a:ea typeface=""/>
        <a:cs typeface=""/>
      </a:majorFont>
      <a:minorFont>
        <a:latin typeface="GT Flex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_Henkel">
      <a:majorFont>
        <a:latin typeface="GT Flexa Rg"/>
        <a:ea typeface=""/>
        <a:cs typeface=""/>
      </a:majorFont>
      <a:minorFont>
        <a:latin typeface="GT Flex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72f792e8-4dad-42c1-ad63-44982727bf4d" ContentTypeId="0x01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A3342A4612824A984C9D3B6A427442" ma:contentTypeVersion="8" ma:contentTypeDescription="Create a new document." ma:contentTypeScope="" ma:versionID="a6ab8473d9b7c3f86d452009d11bc564">
  <xsd:schema xmlns:xsd="http://www.w3.org/2001/XMLSchema" xmlns:xs="http://www.w3.org/2001/XMLSchema" xmlns:p="http://schemas.microsoft.com/office/2006/metadata/properties" xmlns:ns2="41cfcdc3-71d6-4f22-98da-a03455e31e1e" xmlns:ns3="f6c43736-06a3-4b01-9241-d507a38380c5" targetNamespace="http://schemas.microsoft.com/office/2006/metadata/properties" ma:root="true" ma:fieldsID="c4f460adf626c0f020155bcf5a1d9ecf" ns2:_="" ns3:_="">
    <xsd:import namespace="41cfcdc3-71d6-4f22-98da-a03455e31e1e"/>
    <xsd:import namespace="f6c43736-06a3-4b01-9241-d507a38380c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cfcdc3-71d6-4f22-98da-a03455e31e1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c43736-06a3-4b01-9241-d507a38380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C2817D-4C97-4B64-8971-3B82218F0E7C}">
  <ds:schemaRefs>
    <ds:schemaRef ds:uri="41cfcdc3-71d6-4f22-98da-a03455e31e1e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f6c43736-06a3-4b01-9241-d507a38380c5"/>
    <ds:schemaRef ds:uri="http://schemas.microsoft.com/office/infopath/2007/PartnerControl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7CF7434-E26D-4085-9ED2-B86CC45AE7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16BC72-8BF2-437E-AAED-829A1B7442F7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B810E311-6271-432D-AB10-6E4D630007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cfcdc3-71d6-4f22-98da-a03455e31e1e"/>
    <ds:schemaRef ds:uri="f6c43736-06a3-4b01-9241-d507a38380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nkel PPT Template</Template>
  <TotalTime>0</TotalTime>
  <Words>2805</Words>
  <Application>Microsoft Office PowerPoint</Application>
  <PresentationFormat>Custom</PresentationFormat>
  <Paragraphs>543</Paragraphs>
  <Slides>8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2</vt:i4>
      </vt:variant>
    </vt:vector>
  </HeadingPairs>
  <TitlesOfParts>
    <vt:vector size="88" baseType="lpstr">
      <vt:lpstr>Arial</vt:lpstr>
      <vt:lpstr>GT Flexa Rg</vt:lpstr>
      <vt:lpstr>Segoe UI</vt:lpstr>
      <vt:lpstr>Wingdings</vt:lpstr>
      <vt:lpstr>Henkel_Master_EN</vt:lpstr>
      <vt:lpstr>think-cell Folie</vt:lpstr>
      <vt:lpstr>“Let’s Build Cool Websites with React JS!”</vt:lpstr>
      <vt:lpstr>What is frontend development</vt:lpstr>
      <vt:lpstr>How the Web Works</vt:lpstr>
      <vt:lpstr>How the Web Works</vt:lpstr>
      <vt:lpstr>Introduction to HTML, CSS, and JavaScript</vt:lpstr>
      <vt:lpstr>HTML Concepts</vt:lpstr>
      <vt:lpstr>Tables</vt:lpstr>
      <vt:lpstr>Semantic Elements</vt:lpstr>
      <vt:lpstr>For more, please refer: https://www.w3schools.com/html/default.asp </vt:lpstr>
      <vt:lpstr>Introduction to CSS</vt:lpstr>
      <vt:lpstr>CSS Concepts</vt:lpstr>
      <vt:lpstr>Three ways of using CSS</vt:lpstr>
      <vt:lpstr>Box Model (content, padding, border, margin)</vt:lpstr>
      <vt:lpstr>Media Queries (Responsive Design)</vt:lpstr>
      <vt:lpstr>Flexbox (Flexible Box Layout)</vt:lpstr>
      <vt:lpstr>Grid Layout</vt:lpstr>
      <vt:lpstr>For more, please refer: https://www.w3schools.com/css/default.asp </vt:lpstr>
      <vt:lpstr>Introduction to JavaScript</vt:lpstr>
      <vt:lpstr>JavaScript Concepts</vt:lpstr>
      <vt:lpstr>JavaScript Concepts</vt:lpstr>
      <vt:lpstr>JavaScript Concepts</vt:lpstr>
      <vt:lpstr>JavaScript Concepts</vt:lpstr>
      <vt:lpstr>JavaScript Concepts</vt:lpstr>
      <vt:lpstr>JavaScript Concepts</vt:lpstr>
      <vt:lpstr>For more, please refer: https://javascript.info/ </vt:lpstr>
      <vt:lpstr>Developer Tools</vt:lpstr>
      <vt:lpstr>Developer Tools</vt:lpstr>
      <vt:lpstr>Developer Tools</vt:lpstr>
      <vt:lpstr>Developer Tools</vt:lpstr>
      <vt:lpstr>Using VS Code</vt:lpstr>
      <vt:lpstr>Using VS Code</vt:lpstr>
      <vt:lpstr>Using VS Code</vt:lpstr>
      <vt:lpstr>Slide Title, Segoe UI, 24pt, Max. 2 Lines</vt:lpstr>
      <vt:lpstr>Slide Title, Segoe UI, 24pt, Max. 2 Lines</vt:lpstr>
      <vt:lpstr>Introduction to react</vt:lpstr>
      <vt:lpstr>Key features</vt:lpstr>
      <vt:lpstr>Setting up a React Project with Vite</vt:lpstr>
      <vt:lpstr>Create a react project</vt:lpstr>
      <vt:lpstr>Create a react project</vt:lpstr>
      <vt:lpstr>Create a react project</vt:lpstr>
      <vt:lpstr>JSX – Writing HTML inside JavaScript</vt:lpstr>
      <vt:lpstr>CSS Modules &amp; Inline Styles</vt:lpstr>
      <vt:lpstr>Tailwind CSS</vt:lpstr>
      <vt:lpstr>FRAgment</vt:lpstr>
      <vt:lpstr>Slide Title, Segoe UI, 24pt, Max. 2 Lines</vt:lpstr>
      <vt:lpstr>What is the difference?</vt:lpstr>
      <vt:lpstr>Event Handling</vt:lpstr>
      <vt:lpstr>Event Handling</vt:lpstr>
      <vt:lpstr>What are Props in React?</vt:lpstr>
      <vt:lpstr>Slide Title, Segoe UI, 24pt, Max. 2 Lines</vt:lpstr>
      <vt:lpstr>Slide Title, Segoe UI, 24pt, Max. 2 Lines</vt:lpstr>
      <vt:lpstr>Passing Data from Child to Parent</vt:lpstr>
      <vt:lpstr>Child → Parent communication</vt:lpstr>
      <vt:lpstr>Child → Parent communication</vt:lpstr>
      <vt:lpstr>State - Using useState to manage data</vt:lpstr>
      <vt:lpstr>Slide Title, Segoe UI, 24pt, Max. 2 Lines</vt:lpstr>
      <vt:lpstr>Slide Title, Segoe UI, 24pt, Max. 2 Lines</vt:lpstr>
      <vt:lpstr>useEffect</vt:lpstr>
      <vt:lpstr>What IS USEEFFECT And How to use it?</vt:lpstr>
      <vt:lpstr>Slide Title, Segoe UI, 24pt, Max. 2 Lines</vt:lpstr>
      <vt:lpstr>Slide Title, Segoe UI, 24pt, Max. 2 Lines</vt:lpstr>
      <vt:lpstr>Conditional rendering (Hide/Show)</vt:lpstr>
      <vt:lpstr>Lists and Keys</vt:lpstr>
      <vt:lpstr>Forms in react</vt:lpstr>
      <vt:lpstr>Event handling</vt:lpstr>
      <vt:lpstr>Slide Title, Segoe UI, 24pt, Max. 2 Lines</vt:lpstr>
      <vt:lpstr>WHAT IS AN API?</vt:lpstr>
      <vt:lpstr>Event handling</vt:lpstr>
      <vt:lpstr>JSON</vt:lpstr>
      <vt:lpstr>Json example</vt:lpstr>
      <vt:lpstr>Using fetch with async/await</vt:lpstr>
      <vt:lpstr>Using fetch with .then()</vt:lpstr>
      <vt:lpstr>Handle loading &amp; Errors</vt:lpstr>
      <vt:lpstr>Rendering API data in UI</vt:lpstr>
      <vt:lpstr>Introduction to react Router</vt:lpstr>
      <vt:lpstr>CREATING MULTIPLE pages</vt:lpstr>
      <vt:lpstr>Navigation between components</vt:lpstr>
      <vt:lpstr>🚀 Preparing React App for Production</vt:lpstr>
      <vt:lpstr>How to build A project</vt:lpstr>
      <vt:lpstr>Git &amp; GitHub Basics</vt:lpstr>
      <vt:lpstr>Deploy on Netlify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vedha N A</dc:creator>
  <cp:lastModifiedBy>Nivedha N A</cp:lastModifiedBy>
  <cp:revision>1</cp:revision>
  <dcterms:created xsi:type="dcterms:W3CDTF">2025-09-01T09:30:01Z</dcterms:created>
  <dcterms:modified xsi:type="dcterms:W3CDTF">2025-09-11T10:5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A3342A4612824A984C9D3B6A427442</vt:lpwstr>
  </property>
</Properties>
</file>